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5.xml" ContentType="application/vnd.openxmlformats-officedocument.theme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96" r:id="rId6"/>
    <p:sldMasterId id="2147483717" r:id="rId7"/>
  </p:sldMasterIdLst>
  <p:notesMasterIdLst>
    <p:notesMasterId r:id="rId9"/>
  </p:notesMasterIdLst>
  <p:sldIdLst>
    <p:sldId id="1568938631" r:id="rId8"/>
  </p:sldIdLst>
  <p:sldSz cx="9144000" cy="5143500" type="screen16x9"/>
  <p:notesSz cx="7315200" cy="9601200"/>
  <p:custDataLst>
    <p:tags r:id="rId10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D0C46C-A13C-1212-21F9-08645866F30D}" name="Lori Schrop" initials="LS" userId="S::lori.schrop@gs1.org::81a6ef44-3770-4ec0-bfd0-6f9e5a06cef1" providerId="AD"/>
  <p188:author id="{A13D0784-1F99-7887-22C3-75E35FFDBDF2}" name="Robert Beideman" initials="RB" userId="S::robert.beideman@gs1.org::d8bfe3c4-dff5-4ed8-89a1-01288e6d51d3" providerId="AD"/>
  <p188:author id="{0861018C-04E4-AB8A-A54E-BD1F086BD220}" name="Marianne Timmons" initials="MT" userId="S::marianne.timmons@gs1.org::a5cbf82d-431c-4238-abc8-714a3e9c2623" providerId="AD"/>
  <p188:author id="{21B8B9E1-38C6-E2FF-5FCA-30DAA72A8E88}" name="Kevin Stark" initials="KS" userId="S::kevin.stark@gs1.org::227fd7e8-e5e2-403d-8dab-b247763de2c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lagter-Beltman, Maaike" initials="SBM" lastIdx="160" clrIdx="0">
    <p:extLst>
      <p:ext uri="{19B8F6BF-5375-455C-9EA6-DF929625EA0E}">
        <p15:presenceInfo xmlns:p15="http://schemas.microsoft.com/office/powerpoint/2012/main" userId="S::maaike.slagter@capgemini.com::c80b4fbb-d2d7-4952-9384-05165e60720c" providerId="AD"/>
      </p:ext>
    </p:extLst>
  </p:cmAuthor>
  <p:cmAuthor id="2" name="Schip, Richard van" initials="SRv" lastIdx="7" clrIdx="1">
    <p:extLst>
      <p:ext uri="{19B8F6BF-5375-455C-9EA6-DF929625EA0E}">
        <p15:presenceInfo xmlns:p15="http://schemas.microsoft.com/office/powerpoint/2012/main" userId="S::richard.van.schip@capgemini.com::74560394-1bc7-4b17-96c1-e83cdd3234c0" providerId="AD"/>
      </p:ext>
    </p:extLst>
  </p:cmAuthor>
  <p:cmAuthor id="3" name="Anand, Somya" initials="AS" lastIdx="18" clrIdx="2">
    <p:extLst>
      <p:ext uri="{19B8F6BF-5375-455C-9EA6-DF929625EA0E}">
        <p15:presenceInfo xmlns:p15="http://schemas.microsoft.com/office/powerpoint/2012/main" userId="S::somya.anand@capgemini.com::c32030cd-fbe3-4a8d-99d2-c6b449d372ca" providerId="AD"/>
      </p:ext>
    </p:extLst>
  </p:cmAuthor>
  <p:cmAuthor id="4" name="Kevin Stark" initials="KS" lastIdx="27" clrIdx="3">
    <p:extLst>
      <p:ext uri="{19B8F6BF-5375-455C-9EA6-DF929625EA0E}">
        <p15:presenceInfo xmlns:p15="http://schemas.microsoft.com/office/powerpoint/2012/main" userId="S::kevin.stark@gs1.org::227fd7e8-e5e2-403d-8dab-b247763de2c5" providerId="AD"/>
      </p:ext>
    </p:extLst>
  </p:cmAuthor>
  <p:cmAuthor id="5" name="Kolhoff, Lobke" initials="KL" lastIdx="43" clrIdx="4">
    <p:extLst>
      <p:ext uri="{19B8F6BF-5375-455C-9EA6-DF929625EA0E}">
        <p15:presenceInfo xmlns:p15="http://schemas.microsoft.com/office/powerpoint/2012/main" userId="S::lobke.kolhoff@capgemini.com::d40cd2bf-92ad-4574-b27e-3b888eea66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6334"/>
    <a:srgbClr val="71B790"/>
    <a:srgbClr val="FBB034"/>
    <a:srgbClr val="5B9BD5"/>
    <a:srgbClr val="9ACCB0"/>
    <a:srgbClr val="00B74F"/>
    <a:srgbClr val="00B6DE"/>
    <a:srgbClr val="CCFFCC"/>
    <a:srgbClr val="45454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Stark" userId="227fd7e8-e5e2-403d-8dab-b247763de2c5" providerId="ADAL" clId="{963EDB7A-841A-466E-9D6C-5E144C35FEE5}"/>
    <pc:docChg chg="custSel delSld modSld delSection modSection">
      <pc:chgData name="Kevin Stark" userId="227fd7e8-e5e2-403d-8dab-b247763de2c5" providerId="ADAL" clId="{963EDB7A-841A-466E-9D6C-5E144C35FEE5}" dt="2022-12-09T18:43:34.452" v="6" actId="6549"/>
      <pc:docMkLst>
        <pc:docMk/>
      </pc:docMkLst>
      <pc:sldChg chg="delSp mod modNotesTx">
        <pc:chgData name="Kevin Stark" userId="227fd7e8-e5e2-403d-8dab-b247763de2c5" providerId="ADAL" clId="{963EDB7A-841A-466E-9D6C-5E144C35FEE5}" dt="2022-12-09T18:43:34.452" v="6" actId="6549"/>
        <pc:sldMkLst>
          <pc:docMk/>
          <pc:sldMk cId="3906738329" sldId="266"/>
        </pc:sldMkLst>
        <pc:spChg chg="del">
          <ac:chgData name="Kevin Stark" userId="227fd7e8-e5e2-403d-8dab-b247763de2c5" providerId="ADAL" clId="{963EDB7A-841A-466E-9D6C-5E144C35FEE5}" dt="2022-12-09T18:43:27.145" v="4" actId="478"/>
          <ac:spMkLst>
            <pc:docMk/>
            <pc:sldMk cId="3906738329" sldId="266"/>
            <ac:spMk id="3" creationId="{F7EF009A-B905-4ABA-92A1-154D983ED5A1}"/>
          </ac:spMkLst>
        </pc:spChg>
        <pc:grpChg chg="del">
          <ac:chgData name="Kevin Stark" userId="227fd7e8-e5e2-403d-8dab-b247763de2c5" providerId="ADAL" clId="{963EDB7A-841A-466E-9D6C-5E144C35FEE5}" dt="2022-12-09T18:43:27.145" v="4" actId="478"/>
          <ac:grpSpMkLst>
            <pc:docMk/>
            <pc:sldMk cId="3906738329" sldId="266"/>
            <ac:grpSpMk id="21" creationId="{0B381A6D-CA8C-4263-8DEB-54B0594ADDC2}"/>
          </ac:grpSpMkLst>
        </pc:grpChg>
        <pc:grpChg chg="del">
          <ac:chgData name="Kevin Stark" userId="227fd7e8-e5e2-403d-8dab-b247763de2c5" providerId="ADAL" clId="{963EDB7A-841A-466E-9D6C-5E144C35FEE5}" dt="2022-12-09T18:43:27.145" v="4" actId="478"/>
          <ac:grpSpMkLst>
            <pc:docMk/>
            <pc:sldMk cId="3906738329" sldId="266"/>
            <ac:grpSpMk id="24" creationId="{4ED865D1-A953-9274-7ACD-8FBDD91715A8}"/>
          </ac:grpSpMkLst>
        </pc:grpChg>
        <pc:grpChg chg="del">
          <ac:chgData name="Kevin Stark" userId="227fd7e8-e5e2-403d-8dab-b247763de2c5" providerId="ADAL" clId="{963EDB7A-841A-466E-9D6C-5E144C35FEE5}" dt="2022-12-09T18:43:27.145" v="4" actId="478"/>
          <ac:grpSpMkLst>
            <pc:docMk/>
            <pc:sldMk cId="3906738329" sldId="266"/>
            <ac:grpSpMk id="36" creationId="{D930FD7D-BDB4-43C9-9617-4A96B200FF10}"/>
          </ac:grpSpMkLst>
        </pc:grpChg>
      </pc:sldChg>
      <pc:sldChg chg="delSp mod modNotesTx">
        <pc:chgData name="Kevin Stark" userId="227fd7e8-e5e2-403d-8dab-b247763de2c5" providerId="ADAL" clId="{963EDB7A-841A-466E-9D6C-5E144C35FEE5}" dt="2022-12-09T18:43:31.383" v="5" actId="6549"/>
        <pc:sldMkLst>
          <pc:docMk/>
          <pc:sldMk cId="3054657514" sldId="1568938631"/>
        </pc:sldMkLst>
        <pc:spChg chg="del">
          <ac:chgData name="Kevin Stark" userId="227fd7e8-e5e2-403d-8dab-b247763de2c5" providerId="ADAL" clId="{963EDB7A-841A-466E-9D6C-5E144C35FEE5}" dt="2022-12-09T18:43:22.909" v="3" actId="478"/>
          <ac:spMkLst>
            <pc:docMk/>
            <pc:sldMk cId="3054657514" sldId="1568938631"/>
            <ac:spMk id="28" creationId="{3453678C-5198-4B4D-A525-2551090C3562}"/>
          </ac:spMkLst>
        </pc:spChg>
        <pc:grpChg chg="del">
          <ac:chgData name="Kevin Stark" userId="227fd7e8-e5e2-403d-8dab-b247763de2c5" providerId="ADAL" clId="{963EDB7A-841A-466E-9D6C-5E144C35FEE5}" dt="2022-12-09T18:43:22.909" v="3" actId="478"/>
          <ac:grpSpMkLst>
            <pc:docMk/>
            <pc:sldMk cId="3054657514" sldId="1568938631"/>
            <ac:grpSpMk id="18" creationId="{4FAF589A-1949-5B2D-72C7-E753FBA6D719}"/>
          </ac:grpSpMkLst>
        </pc:grpChg>
        <pc:grpChg chg="del">
          <ac:chgData name="Kevin Stark" userId="227fd7e8-e5e2-403d-8dab-b247763de2c5" providerId="ADAL" clId="{963EDB7A-841A-466E-9D6C-5E144C35FEE5}" dt="2022-12-09T18:43:22.909" v="3" actId="478"/>
          <ac:grpSpMkLst>
            <pc:docMk/>
            <pc:sldMk cId="3054657514" sldId="1568938631"/>
            <ac:grpSpMk id="29" creationId="{0402CCFA-F572-4B16-BB9C-32492E522753}"/>
          </ac:grpSpMkLst>
        </pc:grpChg>
        <pc:grpChg chg="del">
          <ac:chgData name="Kevin Stark" userId="227fd7e8-e5e2-403d-8dab-b247763de2c5" providerId="ADAL" clId="{963EDB7A-841A-466E-9D6C-5E144C35FEE5}" dt="2022-12-09T18:43:22.909" v="3" actId="478"/>
          <ac:grpSpMkLst>
            <pc:docMk/>
            <pc:sldMk cId="3054657514" sldId="1568938631"/>
            <ac:grpSpMk id="34" creationId="{05A6000A-6BEC-481E-9553-7AB9DF79A27C}"/>
          </ac:grpSpMkLst>
        </pc:grpChg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4126460748" sldId="2147374517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4152182921" sldId="2147374559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86223155" sldId="2147374576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918074252" sldId="2147374578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631159083" sldId="2147374579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609619680" sldId="2147374581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354246958" sldId="2147374582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888087449" sldId="2147374593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689951018" sldId="2147374594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993110137" sldId="2147374595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647023873" sldId="2147374598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346061038" sldId="2147374601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839518833" sldId="2147374610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420293535" sldId="2147374623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609611406" sldId="2147374630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670770183" sldId="2147374633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679856110" sldId="2147374636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187128269" sldId="2147374654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962075738" sldId="2147374659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198985675" sldId="2147374660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447442785" sldId="2147374664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834442473" sldId="2147374670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080117791" sldId="2147374671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605351795" sldId="2147374672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545685466" sldId="2147374673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179528079" sldId="2147374674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75417200" sldId="2147374675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713406602" sldId="2147374676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737306811" sldId="2147374677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356211637" sldId="2147374678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4120636914" sldId="2147374679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332292545" sldId="2147374680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801922717" sldId="2147374683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967506554" sldId="2147374684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298154105" sldId="2147374685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438744769" sldId="2147374686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631597005" sldId="2147374687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203986074" sldId="2147374688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729970872" sldId="2147374689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116376755" sldId="2147374690"/>
        </pc:sldMkLst>
      </pc:sldChg>
      <pc:sldChg chg="del">
        <pc:chgData name="Kevin Stark" userId="227fd7e8-e5e2-403d-8dab-b247763de2c5" providerId="ADAL" clId="{963EDB7A-841A-466E-9D6C-5E144C35FEE5}" dt="2022-12-09T18:43:04.640" v="0" actId="47"/>
        <pc:sldMkLst>
          <pc:docMk/>
          <pc:sldMk cId="1360855904" sldId="2147374703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240413735" sldId="2147374704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28714554" sldId="2147374712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698271193" sldId="2147374717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341155443" sldId="2147374722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684074008" sldId="2147374723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951784039" sldId="2147374724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690511560" sldId="2147374725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4285775417" sldId="2147374726"/>
        </pc:sldMkLst>
      </pc:sldChg>
      <pc:sldChg chg="del">
        <pc:chgData name="Kevin Stark" userId="227fd7e8-e5e2-403d-8dab-b247763de2c5" providerId="ADAL" clId="{963EDB7A-841A-466E-9D6C-5E144C35FEE5}" dt="2022-12-09T18:43:04.640" v="0" actId="47"/>
        <pc:sldMkLst>
          <pc:docMk/>
          <pc:sldMk cId="2665924870" sldId="2147374729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625446888" sldId="2147374730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933288403" sldId="2147374731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4188983193" sldId="2147374732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247553387" sldId="2147374733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344471392" sldId="2147374735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366035214" sldId="2147374738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502754090" sldId="2147374740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988466396" sldId="2147374741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77311101" sldId="2147374742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873807043" sldId="2147374746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333798276" sldId="2147374747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66370689" sldId="2147374748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119869235" sldId="2147374749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89492968" sldId="2147374750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2149096683" sldId="2147374751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564081420" sldId="2147374752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896854084" sldId="2147374753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87525864" sldId="2147374754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3236213251" sldId="2147374755"/>
        </pc:sldMkLst>
      </pc:sldChg>
      <pc:sldChg chg="del">
        <pc:chgData name="Kevin Stark" userId="227fd7e8-e5e2-403d-8dab-b247763de2c5" providerId="ADAL" clId="{963EDB7A-841A-466E-9D6C-5E144C35FEE5}" dt="2022-12-09T18:43:08.281" v="1" actId="47"/>
        <pc:sldMkLst>
          <pc:docMk/>
          <pc:sldMk cId="825371912" sldId="2147374756"/>
        </pc:sldMkLst>
      </pc:sldChg>
      <pc:sldMasterChg chg="delSldLayout">
        <pc:chgData name="Kevin Stark" userId="227fd7e8-e5e2-403d-8dab-b247763de2c5" providerId="ADAL" clId="{963EDB7A-841A-466E-9D6C-5E144C35FEE5}" dt="2022-12-09T18:43:08.281" v="1" actId="47"/>
        <pc:sldMasterMkLst>
          <pc:docMk/>
          <pc:sldMasterMk cId="1163230287" sldId="2147483660"/>
        </pc:sldMasterMkLst>
        <pc:sldLayoutChg chg="del">
          <pc:chgData name="Kevin Stark" userId="227fd7e8-e5e2-403d-8dab-b247763de2c5" providerId="ADAL" clId="{963EDB7A-841A-466E-9D6C-5E144C35FEE5}" dt="2022-12-09T18:43:08.281" v="1" actId="47"/>
          <pc:sldLayoutMkLst>
            <pc:docMk/>
            <pc:sldMasterMk cId="1163230287" sldId="2147483660"/>
            <pc:sldLayoutMk cId="2638249178" sldId="2147483689"/>
          </pc:sldLayoutMkLst>
        </pc:sldLayoutChg>
      </pc:sldMasterChg>
      <pc:sldMasterChg chg="delSldLayout">
        <pc:chgData name="Kevin Stark" userId="227fd7e8-e5e2-403d-8dab-b247763de2c5" providerId="ADAL" clId="{963EDB7A-841A-466E-9D6C-5E144C35FEE5}" dt="2022-12-09T18:43:08.281" v="1" actId="47"/>
        <pc:sldMasterMkLst>
          <pc:docMk/>
          <pc:sldMasterMk cId="211869285" sldId="2147483665"/>
        </pc:sldMasterMkLst>
        <pc:sldLayoutChg chg="del">
          <pc:chgData name="Kevin Stark" userId="227fd7e8-e5e2-403d-8dab-b247763de2c5" providerId="ADAL" clId="{963EDB7A-841A-466E-9D6C-5E144C35FEE5}" dt="2022-12-09T18:43:08.281" v="1" actId="47"/>
          <pc:sldLayoutMkLst>
            <pc:docMk/>
            <pc:sldMasterMk cId="211869285" sldId="2147483665"/>
            <pc:sldLayoutMk cId="85402809" sldId="2147483695"/>
          </pc:sldLayoutMkLst>
        </pc:sldLayoutChg>
      </pc:sldMasterChg>
    </pc:docChg>
  </pc:docChgLst>
  <pc:docChgLst>
    <pc:chgData name="Kevin Stark" userId="227fd7e8-e5e2-403d-8dab-b247763de2c5" providerId="ADAL" clId="{36643DD1-DADE-4301-9F60-85A891DC7029}"/>
    <pc:docChg chg="delSld">
      <pc:chgData name="Kevin Stark" userId="227fd7e8-e5e2-403d-8dab-b247763de2c5" providerId="ADAL" clId="{36643DD1-DADE-4301-9F60-85A891DC7029}" dt="2022-12-09T18:45:06.960" v="0" actId="47"/>
      <pc:docMkLst>
        <pc:docMk/>
      </pc:docMkLst>
      <pc:sldChg chg="del">
        <pc:chgData name="Kevin Stark" userId="227fd7e8-e5e2-403d-8dab-b247763de2c5" providerId="ADAL" clId="{36643DD1-DADE-4301-9F60-85A891DC7029}" dt="2022-12-09T18:45:06.960" v="0" actId="47"/>
        <pc:sldMkLst>
          <pc:docMk/>
          <pc:sldMk cId="3906738329" sldId="26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17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7889843D-4FCC-4BD4-BE35-A687BB7EAE8C}" type="datetimeFigureOut">
              <a:rPr lang="en-US" smtClean="0"/>
              <a:pPr/>
              <a:t>12/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620578"/>
            <a:ext cx="5852160" cy="378047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5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258ED591-2716-4EBE-99D2-353D86C0A87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670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8ED591-2716-4EBE-99D2-353D86C0A87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2739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porate Visual">
    <p:bg>
      <p:bgPr>
        <a:blipFill dpi="0"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139A2E-5138-4E68-B202-DAD505E952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572931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139A2E-5138-4E68-B202-DAD505E952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578612" y="2147713"/>
            <a:ext cx="6473961" cy="54537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rtl="0">
              <a:lnSpc>
                <a:spcPct val="100000"/>
              </a:lnSpc>
              <a:defRPr sz="18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 noProof="0"/>
              <a:t>Title of Presentation</a:t>
            </a:r>
            <a:br>
              <a:rPr lang="en-US" noProof="0"/>
            </a:br>
            <a:r>
              <a:rPr lang="en-US" noProof="0"/>
              <a:t>Second Line Title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20" y="2789595"/>
            <a:ext cx="6473954" cy="421678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12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5018" y="3301488"/>
            <a:ext cx="6469241" cy="2581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408321"/>
            <a:ext cx="6462906" cy="3911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20000"/>
              </a:lnSpc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noProof="0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9" y="3833759"/>
            <a:ext cx="6462925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noProof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048357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711B18D-DAB1-4296-9F9F-850931F446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70785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711B18D-DAB1-4296-9F9F-850931F446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555060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17682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50E87F-2CB6-4CD8-901D-FC02CE1EC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998525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50E87F-2CB6-4CD8-901D-FC02CE1EC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1"/>
            <a:ext cx="8246492" cy="650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833518"/>
            <a:ext cx="8241707" cy="256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83552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B7F048-6820-46AA-BF78-47AAC72F90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3846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B7F048-6820-46AA-BF78-47AAC72F90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1"/>
            <a:ext cx="8246492" cy="8708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2057402"/>
            <a:ext cx="8241707" cy="2346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39313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111C15-ED07-4324-9655-F52DA749C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4895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111C15-ED07-4324-9655-F52DA749C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54996" y="1091572"/>
            <a:ext cx="391763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720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72026" y="1091572"/>
            <a:ext cx="3918272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773385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447486" y="4759631"/>
            <a:ext cx="247535" cy="150195"/>
          </a:xfrm>
        </p:spPr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792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129C50-A29A-4B79-9386-7C24F57AD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693227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129C50-A29A-4B79-9386-7C24F57AD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7737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US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47737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100"/>
            </a:lvl1pPr>
            <a:lvl2pPr rtl="0">
              <a:lnSpc>
                <a:spcPct val="100000"/>
              </a:lnSpc>
              <a:buClr>
                <a:schemeClr val="accent1"/>
              </a:buClr>
              <a:defRPr sz="1100"/>
            </a:lvl2pPr>
            <a:lvl3pPr rtl="0">
              <a:lnSpc>
                <a:spcPct val="100000"/>
              </a:lnSpc>
              <a:buClr>
                <a:schemeClr val="accent1"/>
              </a:buClr>
              <a:defRPr sz="1100"/>
            </a:lvl3pPr>
            <a:lvl4pPr rtl="0">
              <a:lnSpc>
                <a:spcPct val="100000"/>
              </a:lnSpc>
              <a:buClr>
                <a:schemeClr val="accent1"/>
              </a:buClr>
              <a:defRPr sz="1100"/>
            </a:lvl4pPr>
            <a:lvl5pPr rtl="0"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272505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US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272879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100"/>
            </a:lvl1pPr>
            <a:lvl2pPr rtl="0">
              <a:lnSpc>
                <a:spcPct val="100000"/>
              </a:lnSpc>
              <a:buClr>
                <a:schemeClr val="accent1"/>
              </a:buClr>
              <a:defRPr sz="1100"/>
            </a:lvl2pPr>
            <a:lvl3pPr rtl="0">
              <a:lnSpc>
                <a:spcPct val="100000"/>
              </a:lnSpc>
              <a:buClr>
                <a:schemeClr val="accent1"/>
              </a:buClr>
              <a:defRPr sz="1100"/>
            </a:lvl3pPr>
            <a:lvl4pPr rtl="0">
              <a:lnSpc>
                <a:spcPct val="100000"/>
              </a:lnSpc>
              <a:buClr>
                <a:schemeClr val="accent1"/>
              </a:buClr>
              <a:defRPr sz="1100"/>
            </a:lvl4pPr>
            <a:lvl5pPr rtl="0"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77677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US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178051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100"/>
            </a:lvl1pPr>
            <a:lvl2pPr rtl="0">
              <a:lnSpc>
                <a:spcPct val="100000"/>
              </a:lnSpc>
              <a:buClr>
                <a:schemeClr val="accent1"/>
              </a:buClr>
              <a:defRPr sz="1100"/>
            </a:lvl2pPr>
            <a:lvl3pPr rtl="0">
              <a:lnSpc>
                <a:spcPct val="100000"/>
              </a:lnSpc>
              <a:buClr>
                <a:schemeClr val="accent1"/>
              </a:buClr>
              <a:defRPr sz="1100"/>
            </a:lvl3pPr>
            <a:lvl4pPr rtl="0">
              <a:lnSpc>
                <a:spcPct val="100000"/>
              </a:lnSpc>
              <a:buClr>
                <a:schemeClr val="accent1"/>
              </a:buClr>
              <a:defRPr sz="1100"/>
            </a:lvl4pPr>
            <a:lvl5pPr rtl="0"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0660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54BBD2-7DFD-4572-A354-573AA5EFF0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45944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54BBD2-7DFD-4572-A354-573AA5EFF0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2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30474129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949C6EF-0160-47DA-AA75-03C5FFCD2D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829298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949C6EF-0160-47DA-AA75-03C5FFCD2D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2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47676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algn="l" rtl="0">
              <a:lnSpc>
                <a:spcPct val="110000"/>
              </a:lnSpc>
            </a:pPr>
            <a:endParaRPr lang="en-US" sz="900" b="0" i="1" noProof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49" marR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 baseline="0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49" marR="0" lvl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 sz="1100" b="0" i="1" noProof="0">
                <a:solidFill>
                  <a:schemeClr val="bg1"/>
                </a:solidFill>
              </a:rPr>
              <a:t>Caption or</a:t>
            </a:r>
            <a:r>
              <a:rPr lang="en-US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US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US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US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8567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ACEFE5-4E3A-4C22-9ADC-29812A4CC6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00807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ACEFE5-4E3A-4C22-9ADC-29812A4CC6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9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8" y="1231200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9267608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7490A0-DB02-4EBA-825C-C9BCB8E1BC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0304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7490A0-DB02-4EBA-825C-C9BCB8E1BC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9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8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795558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algn="l" rtl="0">
              <a:lnSpc>
                <a:spcPct val="110000"/>
              </a:lnSpc>
            </a:pPr>
            <a:endParaRPr lang="en-US" sz="900" b="0" i="1" noProof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49" marR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49" marR="0" lvl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 sz="1100" b="0" i="1" noProof="0">
                <a:solidFill>
                  <a:schemeClr val="bg1"/>
                </a:solidFill>
              </a:rPr>
              <a:t>Caption or</a:t>
            </a:r>
            <a:r>
              <a:rPr lang="en-US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US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US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US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3283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C491D6-8064-49DA-9353-7558D9E7D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085781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C491D6-8064-49DA-9353-7558D9E7D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3643" y="1827362"/>
            <a:ext cx="3904707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776840" y="1827362"/>
            <a:ext cx="3916516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6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76486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750607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Block">
    <p:bg>
      <p:bgPr>
        <a:blipFill dpi="0"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D642DA-69EC-46CA-BFA8-A91657E50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456713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D642DA-69EC-46CA-BFA8-A91657E50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"/>
          <p:cNvSpPr>
            <a:spLocks noGrp="1"/>
          </p:cNvSpPr>
          <p:nvPr>
            <p:ph type="title" hasCustomPrompt="1"/>
          </p:nvPr>
        </p:nvSpPr>
        <p:spPr>
          <a:xfrm>
            <a:off x="578612" y="2147713"/>
            <a:ext cx="7983283" cy="54537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rtl="0">
              <a:lnSpc>
                <a:spcPct val="100000"/>
              </a:lnSpc>
              <a:defRPr sz="18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 noProof="0"/>
              <a:t>Title of Presentation</a:t>
            </a:r>
            <a:br>
              <a:rPr lang="en-US" noProof="0"/>
            </a:br>
            <a:r>
              <a:rPr lang="en-US" noProof="0"/>
              <a:t>Second Line Title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19" y="2789595"/>
            <a:ext cx="7983274" cy="421678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12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575017" y="3301488"/>
            <a:ext cx="7977462" cy="387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408321"/>
            <a:ext cx="7969650" cy="3911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20000"/>
              </a:lnSpc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noProof="0"/>
              <a:t>Click to Add Presenter Name, Title, Company</a:t>
            </a:r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8" y="3833759"/>
            <a:ext cx="7969674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noProof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4685202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91596F7-4120-4319-8113-0FC27FA300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596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91596F7-4120-4319-8113-0FC27FA30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46425" y="1091048"/>
            <a:ext cx="8235758" cy="3319317"/>
          </a:xfrm>
          <a:prstGeom prst="rect">
            <a:avLst/>
          </a:prstGeom>
        </p:spPr>
        <p:txBody>
          <a:bodyPr/>
          <a:lstStyle>
            <a:lvl1pPr rtl="0">
              <a:lnSpc>
                <a:spcPct val="150000"/>
              </a:lnSpc>
              <a:defRPr sz="1500"/>
            </a:lvl1pPr>
            <a:lvl2pPr rtl="0">
              <a:lnSpc>
                <a:spcPct val="150000"/>
              </a:lnSpc>
              <a:defRPr sz="1500"/>
            </a:lvl2pPr>
            <a:lvl3pPr rtl="0">
              <a:lnSpc>
                <a:spcPct val="150000"/>
              </a:lnSpc>
              <a:defRPr sz="1500"/>
            </a:lvl3pPr>
            <a:lvl4pPr rtl="0">
              <a:lnSpc>
                <a:spcPct val="150000"/>
              </a:lnSpc>
              <a:defRPr sz="1500"/>
            </a:lvl4pPr>
            <a:lvl5pPr rtl="0">
              <a:lnSpc>
                <a:spcPct val="150000"/>
              </a:lnSpc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346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887C6D-F47F-4F67-A636-1F1ADA1441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33010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887C6D-F47F-4F67-A636-1F1ADA1441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2000" y="1183586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441258" y="2733873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184816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/>
            </a:lvl3pPr>
            <a:lvl4pPr rtl="0">
              <a:lnSpc>
                <a:spcPct val="100000"/>
              </a:lnSpc>
              <a:spcBef>
                <a:spcPts val="400"/>
              </a:spcBef>
              <a:defRPr sz="1100"/>
            </a:lvl4pPr>
            <a:lvl5pPr rtl="0"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46869" y="1184816"/>
            <a:ext cx="3946485" cy="137281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/>
            </a:lvl3pPr>
            <a:lvl4pPr rtl="0">
              <a:lnSpc>
                <a:spcPct val="100000"/>
              </a:lnSpc>
              <a:spcBef>
                <a:spcPts val="400"/>
              </a:spcBef>
              <a:defRPr sz="1100"/>
            </a:lvl4pPr>
            <a:lvl5pPr rtl="0"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0645" y="2902859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/>
            </a:lvl3pPr>
            <a:lvl4pPr rtl="0">
              <a:lnSpc>
                <a:spcPct val="100000"/>
              </a:lnSpc>
              <a:spcBef>
                <a:spcPts val="400"/>
              </a:spcBef>
              <a:defRPr sz="1100"/>
            </a:lvl4pPr>
            <a:lvl5pPr rtl="0"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746869" y="2902859"/>
            <a:ext cx="3946485" cy="1372810"/>
          </a:xfrm>
          <a:prstGeom prst="rect">
            <a:avLst/>
          </a:prstGeom>
        </p:spPr>
        <p:txBody>
          <a:bodyPr lIns="91440"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 kern="12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 kern="1200"/>
            </a:lvl3pPr>
            <a:lvl4pPr rtl="0">
              <a:lnSpc>
                <a:spcPct val="100000"/>
              </a:lnSpc>
              <a:spcBef>
                <a:spcPts val="400"/>
              </a:spcBef>
              <a:defRPr sz="1100" kern="1200"/>
            </a:lvl4pPr>
            <a:lvl5pPr rtl="0">
              <a:lnSpc>
                <a:spcPct val="100000"/>
              </a:lnSpc>
              <a:spcBef>
                <a:spcPts val="400"/>
              </a:spcBef>
              <a:defRPr sz="1100" kern="12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8318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DCD0687-3860-48E8-AAFD-1221F57A8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6805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DCD0687-3860-48E8-AAFD-1221F57A8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72000" y="1183586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441258" y="2733873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187778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160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31220" y="1187778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0645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51705" y="2834930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30160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31220" y="2834930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25826432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D0512EE-6723-4FE8-8778-1F4469B660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36236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D0512EE-6723-4FE8-8778-1F4469B66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1278" y="1328360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830320" y="124903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</a:lstStyle>
          <a:p>
            <a:pPr lvl="0"/>
            <a:r>
              <a:rPr lang="en-US" noProof="0"/>
              <a:t>Add text here</a:t>
            </a:r>
          </a:p>
          <a:p>
            <a:pPr lvl="0"/>
            <a:endParaRPr lang="en-US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451278" y="2387790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3830320" y="230846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</a:lstStyle>
          <a:p>
            <a:pPr lvl="0"/>
            <a:r>
              <a:rPr lang="en-US" noProof="0"/>
              <a:t>Add text here</a:t>
            </a:r>
          </a:p>
          <a:p>
            <a:pPr lvl="0"/>
            <a:endParaRPr lang="en-US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451278" y="344721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830320" y="336789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</a:lstStyle>
          <a:p>
            <a:pPr lvl="0"/>
            <a:r>
              <a:rPr lang="en-US" noProof="0"/>
              <a:t>Add text here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399535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29AF1-F064-4420-BDFF-3292E75E22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5411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29AF1-F064-4420-BDFF-3292E75E2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49432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22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  <a:lvl2pPr rtl="0">
              <a:lnSpc>
                <a:spcPts val="1800"/>
              </a:lnSpc>
              <a:defRPr sz="1200"/>
            </a:lvl2pPr>
            <a:lvl3pPr rtl="0">
              <a:lnSpc>
                <a:spcPts val="1800"/>
              </a:lnSpc>
              <a:defRPr sz="1200"/>
            </a:lvl3pPr>
            <a:lvl4pPr rtl="0">
              <a:lnSpc>
                <a:spcPts val="1800"/>
              </a:lnSpc>
              <a:defRPr sz="1200"/>
            </a:lvl4pPr>
            <a:lvl5pPr rtl="0">
              <a:lnSpc>
                <a:spcPts val="1800"/>
              </a:lnSpc>
              <a:defRPr sz="12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47736" y="3426402"/>
            <a:ext cx="8246492" cy="96167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473738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73417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  <a:lvl2pPr rtl="0">
              <a:lnSpc>
                <a:spcPts val="1800"/>
              </a:lnSpc>
              <a:defRPr sz="1200"/>
            </a:lvl2pPr>
            <a:lvl3pPr rtl="0">
              <a:lnSpc>
                <a:spcPts val="1800"/>
              </a:lnSpc>
              <a:defRPr sz="1200"/>
            </a:lvl3pPr>
            <a:lvl4pPr rtl="0">
              <a:lnSpc>
                <a:spcPts val="1800"/>
              </a:lnSpc>
              <a:defRPr sz="1200"/>
            </a:lvl4pPr>
            <a:lvl5pPr rtl="0">
              <a:lnSpc>
                <a:spcPts val="1800"/>
              </a:lnSpc>
              <a:defRPr sz="12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11413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27DBDD6-5CA3-40A3-A98C-3C0E48C281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14425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27DBDD6-5CA3-40A3-A98C-3C0E48C28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8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4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4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4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4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1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2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2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2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2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5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5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5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5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3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3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3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3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1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9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2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20901144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5C38DB-D199-4181-B950-94627C2E7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927149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5C38DB-D199-4181-B950-94627C2E7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1728" y="1136673"/>
            <a:ext cx="8246851" cy="311874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 rtl="0">
              <a:buFontTx/>
              <a:buNone/>
              <a:defRPr sz="1400" b="1" i="0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441728" y="1433951"/>
            <a:ext cx="8239912" cy="35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r>
              <a:rPr lang="en-US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808398" y="29152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441728" y="4060064"/>
            <a:ext cx="8239912" cy="28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 b="1" i="0">
                <a:solidFill>
                  <a:schemeClr val="accent1"/>
                </a:solidFill>
              </a:defRPr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808398" y="3671294"/>
            <a:ext cx="7879636" cy="25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441728" y="1781210"/>
            <a:ext cx="8239912" cy="104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 b="0" baseline="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808398" y="3167088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808398" y="3418889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444147" y="291679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444147" y="316603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444147" y="3418450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444147" y="3671130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41495163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Header - Editable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DFEC18-B1DE-49F9-B7A6-D713DA6751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77602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DFEC18-B1DE-49F9-B7A6-D713DA675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+mn-lt"/>
              </a:defRPr>
            </a:lvl1pPr>
          </a:lstStyle>
          <a:p>
            <a:fld id="{22807496-E89B-468E-BF7E-6C1A014CFD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7480" y="172643"/>
            <a:ext cx="8243942" cy="679647"/>
          </a:xfrm>
          <a:prstGeom prst="rect">
            <a:avLst/>
          </a:prstGeom>
          <a:solidFill>
            <a:srgbClr val="FFFFFF">
              <a:alpha val="34118"/>
            </a:srgbClr>
          </a:solidFill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>
            <a:lvl1pPr rtl="0">
              <a:defRPr lang="en-GB" sz="2400" b="0" noProof="0" dirty="0">
                <a:solidFill>
                  <a:schemeClr val="tx2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pPr lvl="0" algn="ctr"/>
            <a:r>
              <a:rPr lang="en-US" noProof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624308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957231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1" y="1091410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691604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rporate Visual">
    <p:bg>
      <p:bgPr>
        <a:blipFill dpi="0"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E5EFCB-9BF0-45F5-824C-B6DFD4035A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340741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0E5EFCB-9BF0-45F5-824C-B6DFD4035A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578612" y="2147714"/>
            <a:ext cx="6473961" cy="668374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rtl="0">
              <a:lnSpc>
                <a:spcPts val="2400"/>
              </a:lnSpc>
              <a:defRPr sz="18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/>
              <a:t>Title of Presentation</a:t>
            </a:r>
            <a:br>
              <a:rPr lang="en-US"/>
            </a:br>
            <a:r>
              <a:rPr lang="en-US"/>
              <a:t>Second Line Title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0131" y="4431488"/>
            <a:ext cx="1346293" cy="432197"/>
          </a:xfrm>
          <a:prstGeom prst="rect">
            <a:avLst/>
          </a:prstGeom>
          <a:noFill/>
        </p:spPr>
        <p:txBody>
          <a:bodyPr anchor="t" anchorCtr="0">
            <a:normAutofit/>
          </a:bodyPr>
          <a:lstStyle>
            <a:lvl1pPr marL="0" indent="0" algn="l" rtl="0">
              <a:buNone/>
              <a:defRPr sz="900" b="0" i="0" spc="0">
                <a:solidFill>
                  <a:srgbClr val="B1B3B3"/>
                </a:solidFill>
                <a:latin typeface="Verdana"/>
                <a:cs typeface="Verdana"/>
              </a:defRPr>
            </a:lvl1pPr>
          </a:lstStyle>
          <a:p>
            <a:r>
              <a:rPr lang="en-US"/>
              <a:t>Partner Logo Here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20" y="2906362"/>
            <a:ext cx="6473954" cy="528519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13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5018" y="3535024"/>
            <a:ext cx="6469241" cy="2581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612216"/>
            <a:ext cx="6462906" cy="158051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11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9" y="3833759"/>
            <a:ext cx="6462925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11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2829563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555060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4656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1"/>
            <a:ext cx="8246492" cy="650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833518"/>
            <a:ext cx="8241707" cy="256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1496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1"/>
            <a:ext cx="8246492" cy="8708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2057402"/>
            <a:ext cx="8241707" cy="2346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13297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54996" y="1091572"/>
            <a:ext cx="391763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720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72026" y="1091572"/>
            <a:ext cx="3918272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773385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447486" y="4759631"/>
            <a:ext cx="247535" cy="150195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959086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7737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47737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272505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272879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77677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178051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96420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2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14774897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2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47676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49" marR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 baseline="0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49" marR="0" lvl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6797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9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8" y="1231200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18768478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9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8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795558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49" marR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49" marR="0" lvl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1662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3643" y="1827362"/>
            <a:ext cx="3904707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776840" y="1827362"/>
            <a:ext cx="3916516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6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76486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0926006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AA2A27-95C8-491F-9BE3-89A374FFE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280989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AA2A27-95C8-491F-9BE3-89A374FFE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1" y="1091410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9507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46425" y="1091048"/>
            <a:ext cx="8235758" cy="3319317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500"/>
            </a:lvl1pPr>
            <a:lvl2pPr>
              <a:lnSpc>
                <a:spcPct val="150000"/>
              </a:lnSpc>
              <a:defRPr sz="1500"/>
            </a:lvl2pPr>
            <a:lvl3pPr>
              <a:lnSpc>
                <a:spcPct val="150000"/>
              </a:lnSpc>
              <a:defRPr sz="1500"/>
            </a:lvl3pPr>
            <a:lvl4pPr>
              <a:lnSpc>
                <a:spcPct val="150000"/>
              </a:lnSpc>
              <a:defRPr sz="1500"/>
            </a:lvl4pPr>
            <a:lvl5pPr>
              <a:lnSpc>
                <a:spcPct val="150000"/>
              </a:lnSpc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101777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2000" y="1183586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441258" y="2733873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184816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46869" y="1184816"/>
            <a:ext cx="3946485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0645" y="2902859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746869" y="2902859"/>
            <a:ext cx="3946485" cy="1372810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 kern="12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 kern="1200"/>
            </a:lvl3pPr>
            <a:lvl4pPr>
              <a:lnSpc>
                <a:spcPct val="100000"/>
              </a:lnSpc>
              <a:spcBef>
                <a:spcPts val="400"/>
              </a:spcBef>
              <a:defRPr sz="1100" kern="1200"/>
            </a:lvl4pPr>
            <a:lvl5pPr>
              <a:lnSpc>
                <a:spcPct val="100000"/>
              </a:lnSpc>
              <a:spcBef>
                <a:spcPts val="400"/>
              </a:spcBef>
              <a:defRPr sz="1100" kern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95420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72000" y="1183586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441258" y="2733873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187778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160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31220" y="1187778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0645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51705" y="2834930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30160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31220" y="2834930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26267885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1278" y="1328360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830320" y="124903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451278" y="2387790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3830320" y="230846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451278" y="344721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830320" y="336789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970139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49432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22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47736" y="3426402"/>
            <a:ext cx="8246492" cy="96167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473738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73417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35204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8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>
              <a:lnSpc>
                <a:spcPct val="100000"/>
              </a:lnSpc>
              <a:buClr>
                <a:schemeClr val="accent4"/>
              </a:buClr>
              <a:defRPr sz="900"/>
            </a:lvl1pPr>
            <a:lvl2pPr marL="269993" indent="-136796">
              <a:lnSpc>
                <a:spcPct val="100000"/>
              </a:lnSpc>
              <a:buClr>
                <a:schemeClr val="accent4"/>
              </a:buClr>
              <a:defRPr sz="900"/>
            </a:lvl2pPr>
            <a:lvl3pPr marL="359991" indent="-136796" algn="l">
              <a:lnSpc>
                <a:spcPct val="100000"/>
              </a:lnSpc>
              <a:buClr>
                <a:schemeClr val="accent4"/>
              </a:buClr>
              <a:defRPr sz="900"/>
            </a:lvl3pPr>
            <a:lvl4pPr marL="511187" indent="-136796">
              <a:lnSpc>
                <a:spcPct val="100000"/>
              </a:lnSpc>
              <a:buClr>
                <a:schemeClr val="accent4"/>
              </a:buClr>
              <a:defRPr sz="900"/>
            </a:lvl4pPr>
            <a:lvl5pPr marL="655184" indent="-136796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1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>
              <a:lnSpc>
                <a:spcPct val="100000"/>
              </a:lnSpc>
              <a:buClr>
                <a:schemeClr val="accent2"/>
              </a:buClr>
              <a:defRPr sz="900"/>
            </a:lvl1pPr>
            <a:lvl2pPr marL="269993" indent="-136796">
              <a:lnSpc>
                <a:spcPct val="100000"/>
              </a:lnSpc>
              <a:buClr>
                <a:schemeClr val="accent2"/>
              </a:buClr>
              <a:defRPr sz="900"/>
            </a:lvl2pPr>
            <a:lvl3pPr marL="359991" indent="-136796" algn="l">
              <a:lnSpc>
                <a:spcPct val="100000"/>
              </a:lnSpc>
              <a:buClr>
                <a:schemeClr val="accent2"/>
              </a:buClr>
              <a:defRPr sz="900"/>
            </a:lvl3pPr>
            <a:lvl4pPr marL="511187" indent="-136796">
              <a:lnSpc>
                <a:spcPct val="100000"/>
              </a:lnSpc>
              <a:buClr>
                <a:schemeClr val="accent2"/>
              </a:buClr>
              <a:defRPr sz="900"/>
            </a:lvl4pPr>
            <a:lvl5pPr marL="655184" indent="-136796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>
              <a:lnSpc>
                <a:spcPct val="100000"/>
              </a:lnSpc>
              <a:buClr>
                <a:schemeClr val="accent5"/>
              </a:buClr>
              <a:defRPr sz="900"/>
            </a:lvl1pPr>
            <a:lvl2pPr marL="269993" indent="-136796">
              <a:lnSpc>
                <a:spcPct val="100000"/>
              </a:lnSpc>
              <a:buClr>
                <a:schemeClr val="accent5"/>
              </a:buClr>
              <a:defRPr sz="900"/>
            </a:lvl2pPr>
            <a:lvl3pPr marL="359991" indent="-136796" algn="l">
              <a:lnSpc>
                <a:spcPct val="100000"/>
              </a:lnSpc>
              <a:buClr>
                <a:schemeClr val="accent5"/>
              </a:buClr>
              <a:defRPr sz="900"/>
            </a:lvl3pPr>
            <a:lvl4pPr marL="511187" indent="-136796">
              <a:lnSpc>
                <a:spcPct val="100000"/>
              </a:lnSpc>
              <a:buClr>
                <a:schemeClr val="accent5"/>
              </a:buClr>
              <a:defRPr sz="900"/>
            </a:lvl4pPr>
            <a:lvl5pPr marL="655184" indent="-136796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>
              <a:lnSpc>
                <a:spcPct val="100000"/>
              </a:lnSpc>
              <a:buClr>
                <a:schemeClr val="accent3"/>
              </a:buClr>
              <a:defRPr sz="900"/>
            </a:lvl1pPr>
            <a:lvl2pPr marL="269993" indent="-136796">
              <a:lnSpc>
                <a:spcPct val="100000"/>
              </a:lnSpc>
              <a:buClr>
                <a:schemeClr val="accent3"/>
              </a:buClr>
              <a:defRPr sz="900"/>
            </a:lvl2pPr>
            <a:lvl3pPr marL="359991" indent="-136796" algn="l">
              <a:lnSpc>
                <a:spcPct val="100000"/>
              </a:lnSpc>
              <a:buClr>
                <a:schemeClr val="accent3"/>
              </a:buClr>
              <a:defRPr sz="900"/>
            </a:lvl3pPr>
            <a:lvl4pPr marL="511187" indent="-136796">
              <a:lnSpc>
                <a:spcPct val="100000"/>
              </a:lnSpc>
              <a:buClr>
                <a:schemeClr val="accent3"/>
              </a:buClr>
              <a:defRPr sz="900"/>
            </a:lvl4pPr>
            <a:lvl5pPr marL="655184" indent="-136796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1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9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2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21097292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1728" y="1136673"/>
            <a:ext cx="8246851" cy="311874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400" b="1" i="0"/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441728" y="1433951"/>
            <a:ext cx="8239912" cy="35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r>
              <a:rPr lang="en-GB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808398" y="29152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441728" y="4060064"/>
            <a:ext cx="8239912" cy="28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 b="1" i="0">
                <a:solidFill>
                  <a:schemeClr val="accent1"/>
                </a:solidFill>
              </a:defRPr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GB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808398" y="3671294"/>
            <a:ext cx="7879636" cy="25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GB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441728" y="1781210"/>
            <a:ext cx="8239912" cy="104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 b="0" baseline="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GB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808398" y="3167088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808398" y="3418889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444147" y="291679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>
              <a:buNone/>
              <a:defRPr sz="1200" b="1" i="0"/>
            </a:lvl1pPr>
          </a:lstStyle>
          <a:p>
            <a:pPr lvl="0"/>
            <a:r>
              <a:rPr lang="en-GB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444147" y="316603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>
              <a:buNone/>
              <a:defRPr sz="1200" b="1" i="0"/>
            </a:lvl1pPr>
          </a:lstStyle>
          <a:p>
            <a:pPr lvl="0"/>
            <a:r>
              <a:rPr lang="en-GB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444147" y="3418450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>
              <a:buNone/>
              <a:defRPr sz="1200" b="1" i="0"/>
            </a:lvl1pPr>
          </a:lstStyle>
          <a:p>
            <a:pPr lvl="0"/>
            <a:r>
              <a:rPr lang="en-GB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444147" y="3671130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>
              <a:buNone/>
              <a:defRPr sz="1200" b="1" i="0"/>
            </a:lvl1pPr>
          </a:lstStyle>
          <a:p>
            <a:pPr lvl="0"/>
            <a:r>
              <a:rPr lang="en-GB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39128453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6008"/>
            <a:ext cx="8237820" cy="1588542"/>
          </a:xfrm>
          <a:prstGeom prst="rect">
            <a:avLst/>
          </a:prstGeom>
        </p:spPr>
        <p:txBody>
          <a:bodyPr lIns="0" tIns="0" rIns="0" bIns="0"/>
          <a:lstStyle>
            <a:lvl1pPr marL="74249" indent="0">
              <a:lnSpc>
                <a:spcPct val="100000"/>
              </a:lnSpc>
              <a:buNone/>
              <a:defRPr sz="4000" b="1">
                <a:solidFill>
                  <a:schemeClr val="bg1"/>
                </a:solidFill>
              </a:defRPr>
            </a:lvl1pPr>
            <a:lvl2pPr marL="272243" indent="0">
              <a:buNone/>
              <a:defRPr>
                <a:solidFill>
                  <a:schemeClr val="bg1"/>
                </a:solidFill>
              </a:defRPr>
            </a:lvl2pPr>
            <a:lvl3pPr marL="538637" indent="0">
              <a:buNone/>
              <a:defRPr>
                <a:solidFill>
                  <a:schemeClr val="bg1"/>
                </a:solidFill>
              </a:defRPr>
            </a:lvl3pPr>
            <a:lvl4pPr marL="822602" indent="0">
              <a:buNone/>
              <a:defRPr>
                <a:solidFill>
                  <a:schemeClr val="bg1"/>
                </a:solidFill>
              </a:defRPr>
            </a:lvl4pPr>
            <a:lvl5pPr marL="103859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7628839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FC3269-72A6-46DB-90F1-6D14640D57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81166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FC3269-72A6-46DB-90F1-6D14640D5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558092E-0BAC-4DCC-81C9-0A078E09D1D8}"/>
              </a:ext>
            </a:extLst>
          </p:cNvPr>
          <p:cNvSpPr txBox="1">
            <a:spLocks/>
          </p:cNvSpPr>
          <p:nvPr userDrawn="1"/>
        </p:nvSpPr>
        <p:spPr>
          <a:xfrm>
            <a:off x="8447486" y="4717318"/>
            <a:ext cx="368763" cy="19250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z="698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698"/>
          </a:p>
        </p:txBody>
      </p:sp>
    </p:spTree>
    <p:extLst>
      <p:ext uri="{BB962C8B-B14F-4D97-AF65-F5344CB8AC3E}">
        <p14:creationId xmlns:p14="http://schemas.microsoft.com/office/powerpoint/2010/main" val="13423832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AA2A27-95C8-491F-9BE3-89A374FFE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280989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AA2A27-95C8-491F-9BE3-89A374FFE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1" y="1091410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858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25BC90-44AE-4D07-B32B-49BF632EF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61928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25BC90-44AE-4D07-B32B-49BF632EF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609" y="87475"/>
            <a:ext cx="8210829" cy="537533"/>
          </a:xfrm>
        </p:spPr>
        <p:txBody>
          <a:bodyPr vert="horz" lIns="0" tIns="0" rIns="0" bIns="0" rtlCol="0" anchor="b" anchorCtr="0">
            <a:noAutofit/>
          </a:bodyPr>
          <a:lstStyle>
            <a:lvl1pPr rtl="0">
              <a:defRPr lang="en-GB" sz="15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65592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711B18D-DAB1-4296-9F9F-850931F446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70785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711B18D-DAB1-4296-9F9F-850931F446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555060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3862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50E87F-2CB6-4CD8-901D-FC02CE1EC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998525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50E87F-2CB6-4CD8-901D-FC02CE1EC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1"/>
            <a:ext cx="8246492" cy="650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833518"/>
            <a:ext cx="8241707" cy="256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42884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B7F048-6820-46AA-BF78-47AAC72F90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3846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B7F048-6820-46AA-BF78-47AAC72F90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1"/>
            <a:ext cx="8246492" cy="8708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2057402"/>
            <a:ext cx="8241707" cy="2346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9386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111C15-ED07-4324-9655-F52DA749C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4895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111C15-ED07-4324-9655-F52DA749C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54996" y="1091572"/>
            <a:ext cx="391763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720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72026" y="1091572"/>
            <a:ext cx="3918272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773385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447486" y="4759631"/>
            <a:ext cx="247535" cy="150195"/>
          </a:xfrm>
        </p:spPr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5385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129C50-A29A-4B79-9386-7C24F57AD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693227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129C50-A29A-4B79-9386-7C24F57AD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7737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US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47737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100"/>
            </a:lvl1pPr>
            <a:lvl2pPr rtl="0">
              <a:lnSpc>
                <a:spcPct val="100000"/>
              </a:lnSpc>
              <a:buClr>
                <a:schemeClr val="accent1"/>
              </a:buClr>
              <a:defRPr sz="1100"/>
            </a:lvl2pPr>
            <a:lvl3pPr rtl="0">
              <a:lnSpc>
                <a:spcPct val="100000"/>
              </a:lnSpc>
              <a:buClr>
                <a:schemeClr val="accent1"/>
              </a:buClr>
              <a:defRPr sz="1100"/>
            </a:lvl3pPr>
            <a:lvl4pPr rtl="0">
              <a:lnSpc>
                <a:spcPct val="100000"/>
              </a:lnSpc>
              <a:buClr>
                <a:schemeClr val="accent1"/>
              </a:buClr>
              <a:defRPr sz="1100"/>
            </a:lvl4pPr>
            <a:lvl5pPr rtl="0"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272505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US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272879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100"/>
            </a:lvl1pPr>
            <a:lvl2pPr rtl="0">
              <a:lnSpc>
                <a:spcPct val="100000"/>
              </a:lnSpc>
              <a:buClr>
                <a:schemeClr val="accent1"/>
              </a:buClr>
              <a:defRPr sz="1100"/>
            </a:lvl2pPr>
            <a:lvl3pPr rtl="0">
              <a:lnSpc>
                <a:spcPct val="100000"/>
              </a:lnSpc>
              <a:buClr>
                <a:schemeClr val="accent1"/>
              </a:buClr>
              <a:defRPr sz="1100"/>
            </a:lvl3pPr>
            <a:lvl4pPr rtl="0">
              <a:lnSpc>
                <a:spcPct val="100000"/>
              </a:lnSpc>
              <a:buClr>
                <a:schemeClr val="accent1"/>
              </a:buClr>
              <a:defRPr sz="1100"/>
            </a:lvl4pPr>
            <a:lvl5pPr rtl="0"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77677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US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178051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100"/>
            </a:lvl1pPr>
            <a:lvl2pPr rtl="0">
              <a:lnSpc>
                <a:spcPct val="100000"/>
              </a:lnSpc>
              <a:buClr>
                <a:schemeClr val="accent1"/>
              </a:buClr>
              <a:defRPr sz="1100"/>
            </a:lvl2pPr>
            <a:lvl3pPr rtl="0">
              <a:lnSpc>
                <a:spcPct val="100000"/>
              </a:lnSpc>
              <a:buClr>
                <a:schemeClr val="accent1"/>
              </a:buClr>
              <a:defRPr sz="1100"/>
            </a:lvl3pPr>
            <a:lvl4pPr rtl="0">
              <a:lnSpc>
                <a:spcPct val="100000"/>
              </a:lnSpc>
              <a:buClr>
                <a:schemeClr val="accent1"/>
              </a:buClr>
              <a:defRPr sz="1100"/>
            </a:lvl4pPr>
            <a:lvl5pPr rtl="0"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73443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54BBD2-7DFD-4572-A354-573AA5EFF0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45944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54BBD2-7DFD-4572-A354-573AA5EFF0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2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32469624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949C6EF-0160-47DA-AA75-03C5FFCD2D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829298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949C6EF-0160-47DA-AA75-03C5FFCD2D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2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47676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algn="l" rtl="0">
              <a:lnSpc>
                <a:spcPct val="110000"/>
              </a:lnSpc>
            </a:pPr>
            <a:endParaRPr lang="en-US" sz="900" b="0" i="1" noProof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49" marR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 baseline="0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49" marR="0" lvl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 sz="1100" b="0" i="1" noProof="0">
                <a:solidFill>
                  <a:schemeClr val="bg1"/>
                </a:solidFill>
              </a:rPr>
              <a:t>Caption or</a:t>
            </a:r>
            <a:r>
              <a:rPr lang="en-US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US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US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US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893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ACEFE5-4E3A-4C22-9ADC-29812A4CC6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00807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ACEFE5-4E3A-4C22-9ADC-29812A4CC6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9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8" y="1231200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153000317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7490A0-DB02-4EBA-825C-C9BCB8E1BC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0304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7490A0-DB02-4EBA-825C-C9BCB8E1BC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9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8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795558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algn="l" rtl="0">
              <a:lnSpc>
                <a:spcPct val="110000"/>
              </a:lnSpc>
            </a:pPr>
            <a:endParaRPr lang="en-US" sz="900" b="0" i="1" noProof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49" marR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49" marR="0" lvl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 sz="1100" b="0" i="1" noProof="0">
                <a:solidFill>
                  <a:schemeClr val="bg1"/>
                </a:solidFill>
              </a:rPr>
              <a:t>Caption or</a:t>
            </a:r>
            <a:r>
              <a:rPr lang="en-US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US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US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US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4240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C491D6-8064-49DA-9353-7558D9E7D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085781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C491D6-8064-49DA-9353-7558D9E7D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3643" y="1827362"/>
            <a:ext cx="3904707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776840" y="1827362"/>
            <a:ext cx="3916516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6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76486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610106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27DBDD6-5CA3-40A3-A98C-3C0E48C281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89863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27DBDD6-5CA3-40A3-A98C-3C0E48C28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8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4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4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4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4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1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2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2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2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2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5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5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5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5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3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3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3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3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1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9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2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25740861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91596F7-4120-4319-8113-0FC27FA300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596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91596F7-4120-4319-8113-0FC27FA30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46425" y="1091048"/>
            <a:ext cx="8235758" cy="3319317"/>
          </a:xfrm>
          <a:prstGeom prst="rect">
            <a:avLst/>
          </a:prstGeom>
        </p:spPr>
        <p:txBody>
          <a:bodyPr/>
          <a:lstStyle>
            <a:lvl1pPr rtl="0">
              <a:lnSpc>
                <a:spcPct val="150000"/>
              </a:lnSpc>
              <a:defRPr sz="1500"/>
            </a:lvl1pPr>
            <a:lvl2pPr rtl="0">
              <a:lnSpc>
                <a:spcPct val="150000"/>
              </a:lnSpc>
              <a:defRPr sz="1500"/>
            </a:lvl2pPr>
            <a:lvl3pPr rtl="0">
              <a:lnSpc>
                <a:spcPct val="150000"/>
              </a:lnSpc>
              <a:defRPr sz="1500"/>
            </a:lvl3pPr>
            <a:lvl4pPr rtl="0">
              <a:lnSpc>
                <a:spcPct val="150000"/>
              </a:lnSpc>
              <a:defRPr sz="1500"/>
            </a:lvl4pPr>
            <a:lvl5pPr rtl="0">
              <a:lnSpc>
                <a:spcPct val="150000"/>
              </a:lnSpc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1454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887C6D-F47F-4F67-A636-1F1ADA1441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33010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887C6D-F47F-4F67-A636-1F1ADA1441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2000" y="1183586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441258" y="2733873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184816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/>
            </a:lvl3pPr>
            <a:lvl4pPr rtl="0">
              <a:lnSpc>
                <a:spcPct val="100000"/>
              </a:lnSpc>
              <a:spcBef>
                <a:spcPts val="400"/>
              </a:spcBef>
              <a:defRPr sz="1100"/>
            </a:lvl4pPr>
            <a:lvl5pPr rtl="0"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46869" y="1184816"/>
            <a:ext cx="3946485" cy="137281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/>
            </a:lvl3pPr>
            <a:lvl4pPr rtl="0">
              <a:lnSpc>
                <a:spcPct val="100000"/>
              </a:lnSpc>
              <a:spcBef>
                <a:spcPts val="400"/>
              </a:spcBef>
              <a:defRPr sz="1100"/>
            </a:lvl4pPr>
            <a:lvl5pPr rtl="0"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0645" y="2902859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/>
            </a:lvl3pPr>
            <a:lvl4pPr rtl="0">
              <a:lnSpc>
                <a:spcPct val="100000"/>
              </a:lnSpc>
              <a:spcBef>
                <a:spcPts val="400"/>
              </a:spcBef>
              <a:defRPr sz="1100"/>
            </a:lvl4pPr>
            <a:lvl5pPr rtl="0"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746869" y="2902859"/>
            <a:ext cx="3946485" cy="1372810"/>
          </a:xfrm>
          <a:prstGeom prst="rect">
            <a:avLst/>
          </a:prstGeom>
        </p:spPr>
        <p:txBody>
          <a:bodyPr lIns="91440"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 kern="12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 kern="1200"/>
            </a:lvl3pPr>
            <a:lvl4pPr rtl="0">
              <a:lnSpc>
                <a:spcPct val="100000"/>
              </a:lnSpc>
              <a:spcBef>
                <a:spcPts val="400"/>
              </a:spcBef>
              <a:defRPr sz="1100" kern="1200"/>
            </a:lvl4pPr>
            <a:lvl5pPr rtl="0">
              <a:lnSpc>
                <a:spcPct val="100000"/>
              </a:lnSpc>
              <a:spcBef>
                <a:spcPts val="400"/>
              </a:spcBef>
              <a:defRPr sz="1100" kern="12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49962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DCD0687-3860-48E8-AAFD-1221F57A8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6805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DCD0687-3860-48E8-AAFD-1221F57A8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72000" y="1183586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441258" y="2733873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187778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160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31220" y="1187778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0645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51705" y="2834930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30160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31220" y="2834930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94883749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D0512EE-6723-4FE8-8778-1F4469B660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36236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D0512EE-6723-4FE8-8778-1F4469B66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1278" y="1328360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830320" y="124903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</a:lstStyle>
          <a:p>
            <a:pPr lvl="0"/>
            <a:r>
              <a:rPr lang="en-US" noProof="0"/>
              <a:t>Add text here</a:t>
            </a:r>
          </a:p>
          <a:p>
            <a:pPr lvl="0"/>
            <a:endParaRPr lang="en-US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451278" y="2387790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3830320" y="230846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</a:lstStyle>
          <a:p>
            <a:pPr lvl="0"/>
            <a:r>
              <a:rPr lang="en-US" noProof="0"/>
              <a:t>Add text here</a:t>
            </a:r>
          </a:p>
          <a:p>
            <a:pPr lvl="0"/>
            <a:endParaRPr lang="en-US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451278" y="344721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830320" y="336789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</a:lstStyle>
          <a:p>
            <a:pPr lvl="0"/>
            <a:r>
              <a:rPr lang="en-US" noProof="0"/>
              <a:t>Add text here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176921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29AF1-F064-4420-BDFF-3292E75E22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5411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29AF1-F064-4420-BDFF-3292E75E2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49432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22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  <a:lvl2pPr rtl="0">
              <a:lnSpc>
                <a:spcPts val="1800"/>
              </a:lnSpc>
              <a:defRPr sz="1200"/>
            </a:lvl2pPr>
            <a:lvl3pPr rtl="0">
              <a:lnSpc>
                <a:spcPts val="1800"/>
              </a:lnSpc>
              <a:defRPr sz="1200"/>
            </a:lvl3pPr>
            <a:lvl4pPr rtl="0">
              <a:lnSpc>
                <a:spcPts val="1800"/>
              </a:lnSpc>
              <a:defRPr sz="1200"/>
            </a:lvl4pPr>
            <a:lvl5pPr rtl="0">
              <a:lnSpc>
                <a:spcPts val="1800"/>
              </a:lnSpc>
              <a:defRPr sz="12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47736" y="3426402"/>
            <a:ext cx="8246492" cy="96167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473738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73417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  <a:lvl2pPr rtl="0">
              <a:lnSpc>
                <a:spcPts val="1800"/>
              </a:lnSpc>
              <a:defRPr sz="1200"/>
            </a:lvl2pPr>
            <a:lvl3pPr rtl="0">
              <a:lnSpc>
                <a:spcPts val="1800"/>
              </a:lnSpc>
              <a:defRPr sz="1200"/>
            </a:lvl3pPr>
            <a:lvl4pPr rtl="0">
              <a:lnSpc>
                <a:spcPts val="1800"/>
              </a:lnSpc>
              <a:defRPr sz="1200"/>
            </a:lvl4pPr>
            <a:lvl5pPr rtl="0">
              <a:lnSpc>
                <a:spcPts val="1800"/>
              </a:lnSpc>
              <a:defRPr sz="12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222870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27DBDD6-5CA3-40A3-A98C-3C0E48C281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89863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27DBDD6-5CA3-40A3-A98C-3C0E48C28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8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4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4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4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4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1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2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2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2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2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5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5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5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5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3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3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3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3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1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9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2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393547997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5C38DB-D199-4181-B950-94627C2E7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927149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5C38DB-D199-4181-B950-94627C2E7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1728" y="1136673"/>
            <a:ext cx="8246851" cy="311874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 rtl="0">
              <a:buFontTx/>
              <a:buNone/>
              <a:defRPr sz="1400" b="1" i="0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441728" y="1433951"/>
            <a:ext cx="8239912" cy="35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r>
              <a:rPr lang="en-US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808398" y="29152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441728" y="4060064"/>
            <a:ext cx="8239912" cy="28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 b="1" i="0">
                <a:solidFill>
                  <a:schemeClr val="accent1"/>
                </a:solidFill>
              </a:defRPr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808398" y="3671294"/>
            <a:ext cx="7879636" cy="25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441728" y="1781210"/>
            <a:ext cx="8239912" cy="104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 b="0" baseline="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808398" y="3167088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808398" y="3418889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444147" y="291679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444147" y="316603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444147" y="3418450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444147" y="3671130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61635749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Header - Editable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DFEC18-B1DE-49F9-B7A6-D713DA6751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77602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DFEC18-B1DE-49F9-B7A6-D713DA675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+mn-lt"/>
              </a:defRPr>
            </a:lvl1pPr>
          </a:lstStyle>
          <a:p>
            <a:fld id="{22807496-E89B-468E-BF7E-6C1A014CFD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7480" y="172643"/>
            <a:ext cx="8243942" cy="679647"/>
          </a:xfrm>
          <a:prstGeom prst="rect">
            <a:avLst/>
          </a:prstGeom>
          <a:solidFill>
            <a:srgbClr val="FFFFFF">
              <a:alpha val="34118"/>
            </a:srgbClr>
          </a:solidFill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>
            <a:lvl1pPr rtl="0">
              <a:defRPr lang="en-GB" sz="2400" b="0" noProof="0" dirty="0">
                <a:solidFill>
                  <a:schemeClr val="tx2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pPr lvl="0" algn="ctr"/>
            <a:r>
              <a:rPr lang="en-US" noProof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47288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F41E59-48B0-4524-B901-6EC1A9495F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1919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4F41E59-48B0-4524-B901-6EC1A9495F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>
            <a:lvl1pPr rtl="0">
              <a:defRPr lang="en-GB" sz="2400" b="0" noProof="0" dirty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21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FC3269-72A6-46DB-90F1-6D14640D57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81166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FC3269-72A6-46DB-90F1-6D14640D5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558092E-0BAC-4DCC-81C9-0A078E09D1D8}"/>
              </a:ext>
            </a:extLst>
          </p:cNvPr>
          <p:cNvSpPr txBox="1">
            <a:spLocks/>
          </p:cNvSpPr>
          <p:nvPr userDrawn="1"/>
        </p:nvSpPr>
        <p:spPr>
          <a:xfrm>
            <a:off x="8447486" y="4717318"/>
            <a:ext cx="368763" cy="19250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z="698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698"/>
          </a:p>
        </p:txBody>
      </p:sp>
    </p:spTree>
    <p:extLst>
      <p:ext uri="{BB962C8B-B14F-4D97-AF65-F5344CB8AC3E}">
        <p14:creationId xmlns:p14="http://schemas.microsoft.com/office/powerpoint/2010/main" val="18917507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AA2A27-95C8-491F-9BE3-89A374FFE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280989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AA2A27-95C8-491F-9BE3-89A374FFE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1" y="1091410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833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0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oleObject" Target="../embeddings/oleObject9.bin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50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oleObject" Target="../embeddings/oleObject30.bin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tags" Target="../tags/tag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3D3AA05-729B-4875-A0C2-FCEAD17B92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9618150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3D3AA05-729B-4875-A0C2-FCEAD17B9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304D3DA5-419B-41D5-BC89-7C64ADE920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rtl="0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73816-B340-6289-A972-C7578C6089D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443" y="655719"/>
            <a:ext cx="2129612" cy="626216"/>
          </a:xfrm>
          <a:prstGeom prst="rect">
            <a:avLst/>
          </a:prstGeom>
        </p:spPr>
      </p:pic>
      <p:pic>
        <p:nvPicPr>
          <p:cNvPr id="11" name="Picture 10" descr="14GSGL0011_D08_PPT_Cover_Global-Language-of-Business.png">
            <a:extLst>
              <a:ext uri="{FF2B5EF4-FFF2-40B4-BE49-F238E27FC236}">
                <a16:creationId xmlns:a16="http://schemas.microsoft.com/office/drawing/2014/main" id="{D69758FF-0199-D2F7-AA0F-84BFFB086C8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750" y="965933"/>
            <a:ext cx="1429409" cy="7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230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7" r:id="rId3"/>
    <p:sldLayoutId id="2147483690" r:id="rId4"/>
    <p:sldLayoutId id="2147483691" r:id="rId5"/>
    <p:sldLayoutId id="2147483693" r:id="rId6"/>
    <p:sldLayoutId id="2147483694" r:id="rId7"/>
  </p:sldLayoutIdLst>
  <p:hf hdr="0" ftr="0" dt="0"/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5D51D-3F2E-4ADA-9502-7F4864F72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97654851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5D51D-3F2E-4ADA-9502-7F4864F72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80" y="172643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 sz="600" noProof="0">
                <a:solidFill>
                  <a:srgbClr val="454545"/>
                </a:solidFill>
              </a:rPr>
              <a:t>© GS1</a:t>
            </a:r>
            <a:r>
              <a:rPr lang="en-US" sz="600" baseline="0" noProof="0">
                <a:solidFill>
                  <a:srgbClr val="454545"/>
                </a:solidFill>
              </a:rPr>
              <a:t> </a:t>
            </a:r>
            <a:r>
              <a:rPr lang="en-US" sz="600" noProof="0">
                <a:solidFill>
                  <a:srgbClr val="454545"/>
                </a:solidFill>
              </a:rPr>
              <a:t>2022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rtl="0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6E5CB1-E16B-4122-9C68-2768B321B822}"/>
              </a:ext>
            </a:extLst>
          </p:cNvPr>
          <p:cNvSpPr/>
          <p:nvPr userDrawn="1"/>
        </p:nvSpPr>
        <p:spPr>
          <a:xfrm>
            <a:off x="259492" y="4417541"/>
            <a:ext cx="8507627" cy="150195"/>
          </a:xfrm>
          <a:prstGeom prst="rect">
            <a:avLst/>
          </a:prstGeom>
          <a:solidFill>
            <a:srgbClr val="FFFFFF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013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0F55FA-EAE0-4D3E-B841-CE1064C7B870}"/>
              </a:ext>
            </a:extLst>
          </p:cNvPr>
          <p:cNvSpPr/>
          <p:nvPr userDrawn="1"/>
        </p:nvSpPr>
        <p:spPr>
          <a:xfrm>
            <a:off x="415950" y="881023"/>
            <a:ext cx="8507627" cy="150195"/>
          </a:xfrm>
          <a:prstGeom prst="rect">
            <a:avLst/>
          </a:prstGeom>
          <a:solidFill>
            <a:srgbClr val="FFFFFF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013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01047D-386F-C0E3-21AA-55F7F1703917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1" y="4646132"/>
            <a:ext cx="1312639" cy="385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69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6" r:id="rId20"/>
  </p:sldLayoutIdLst>
  <p:hf hdr="0" ftr="0" dt="0"/>
  <p:txStyles>
    <p:titleStyle>
      <a:lvl1pPr algn="l" defTabSz="457144" rtl="0" eaLnBrk="1" fontAlgn="base" hangingPunct="1">
        <a:spcBef>
          <a:spcPct val="0"/>
        </a:spcBef>
        <a:spcAft>
          <a:spcPct val="0"/>
        </a:spcAft>
        <a:defRPr sz="2100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144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4288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1432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8577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59991" marR="0" indent="-285743" algn="l" defTabSz="457144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700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7986" marR="0" indent="-285743" algn="l" defTabSz="457144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4380" indent="-285743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1174" indent="-228572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7169" indent="-228572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4291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5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9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24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4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8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2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7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0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63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7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52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80" y="172643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00" noProof="0">
                <a:solidFill>
                  <a:srgbClr val="454545"/>
                </a:solidFill>
              </a:rPr>
              <a:t>© GS1</a:t>
            </a:r>
            <a:r>
              <a:rPr lang="en-GB" sz="600" baseline="0" noProof="0">
                <a:solidFill>
                  <a:srgbClr val="454545"/>
                </a:solidFill>
              </a:rPr>
              <a:t> </a:t>
            </a:r>
            <a:r>
              <a:rPr lang="en-GB" sz="600" noProof="0">
                <a:solidFill>
                  <a:srgbClr val="454545"/>
                </a:solidFill>
              </a:rPr>
              <a:t>2022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7FF1734-4CEB-3A5C-6F3E-16651816B2DB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2" y="4646132"/>
            <a:ext cx="1312639" cy="385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519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</p:sldLayoutIdLst>
  <p:hf hdr="0" ftr="0" dt="0"/>
  <p:txStyles>
    <p:titleStyle>
      <a:lvl1pPr algn="l" defTabSz="457144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144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4288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1432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8577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59991" marR="0" indent="-285743" algn="l" defTabSz="457144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700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7986" marR="0" indent="-285743" algn="l" defTabSz="457144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4380" indent="-285743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1174" indent="-228572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7169" indent="-228572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4291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5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9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24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4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8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2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7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0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63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7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52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5D51D-3F2E-4ADA-9502-7F4864F72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09139984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5D51D-3F2E-4ADA-9502-7F4864F72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80" y="172643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 sz="600" noProof="0">
                <a:solidFill>
                  <a:srgbClr val="454545"/>
                </a:solidFill>
              </a:rPr>
              <a:t>© GS1</a:t>
            </a:r>
            <a:r>
              <a:rPr lang="en-US" sz="600" baseline="0" noProof="0">
                <a:solidFill>
                  <a:srgbClr val="454545"/>
                </a:solidFill>
              </a:rPr>
              <a:t> </a:t>
            </a:r>
            <a:r>
              <a:rPr lang="en-US" sz="600" noProof="0">
                <a:solidFill>
                  <a:srgbClr val="454545"/>
                </a:solidFill>
              </a:rPr>
              <a:t>2022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rtl="0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6E5CB1-E16B-4122-9C68-2768B321B822}"/>
              </a:ext>
            </a:extLst>
          </p:cNvPr>
          <p:cNvSpPr/>
          <p:nvPr userDrawn="1"/>
        </p:nvSpPr>
        <p:spPr>
          <a:xfrm>
            <a:off x="259492" y="4417541"/>
            <a:ext cx="8507627" cy="150195"/>
          </a:xfrm>
          <a:prstGeom prst="rect">
            <a:avLst/>
          </a:prstGeom>
          <a:solidFill>
            <a:srgbClr val="FFFFFF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013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0F55FA-EAE0-4D3E-B841-CE1064C7B870}"/>
              </a:ext>
            </a:extLst>
          </p:cNvPr>
          <p:cNvSpPr/>
          <p:nvPr userDrawn="1"/>
        </p:nvSpPr>
        <p:spPr>
          <a:xfrm>
            <a:off x="415950" y="881023"/>
            <a:ext cx="8507627" cy="150195"/>
          </a:xfrm>
          <a:prstGeom prst="rect">
            <a:avLst/>
          </a:prstGeom>
          <a:solidFill>
            <a:srgbClr val="FFFFFF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013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01047D-386F-C0E3-21AA-55F7F1703917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1" y="4646132"/>
            <a:ext cx="1312639" cy="385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404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</p:sldLayoutIdLst>
  <p:hf hdr="0" ftr="0" dt="0"/>
  <p:txStyles>
    <p:titleStyle>
      <a:lvl1pPr algn="l" defTabSz="457144" rtl="0" eaLnBrk="1" fontAlgn="base" hangingPunct="1">
        <a:spcBef>
          <a:spcPct val="0"/>
        </a:spcBef>
        <a:spcAft>
          <a:spcPct val="0"/>
        </a:spcAft>
        <a:defRPr sz="2100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144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4288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1432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8577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59991" marR="0" indent="-285743" algn="l" defTabSz="457144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700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7986" marR="0" indent="-285743" algn="l" defTabSz="457144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4380" indent="-285743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1174" indent="-228572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7169" indent="-228572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4291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5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9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24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4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8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2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7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0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63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7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52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65AD26-B515-4E3A-9B72-0871FF47C8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65AD26-B515-4E3A-9B72-0871FF47C8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B3B2373C-5B31-4C23-BB92-93DC8440E1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619814"/>
              </p:ext>
            </p:extLst>
          </p:nvPr>
        </p:nvGraphicFramePr>
        <p:xfrm>
          <a:off x="539916" y="912115"/>
          <a:ext cx="2939627" cy="10599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4280">
                  <a:extLst>
                    <a:ext uri="{9D8B030D-6E8A-4147-A177-3AD203B41FA5}">
                      <a16:colId xmlns:a16="http://schemas.microsoft.com/office/drawing/2014/main" val="1138537445"/>
                    </a:ext>
                  </a:extLst>
                </a:gridCol>
                <a:gridCol w="1365347">
                  <a:extLst>
                    <a:ext uri="{9D8B030D-6E8A-4147-A177-3AD203B41FA5}">
                      <a16:colId xmlns:a16="http://schemas.microsoft.com/office/drawing/2014/main" val="38331958"/>
                    </a:ext>
                  </a:extLst>
                </a:gridCol>
              </a:tblGrid>
              <a:tr h="262890">
                <a:tc>
                  <a:txBody>
                    <a:bodyPr/>
                    <a:lstStyle/>
                    <a:p>
                      <a:pPr rtl="0"/>
                      <a:r>
                        <a:rPr lang="en-US" sz="1100" b="0">
                          <a:solidFill>
                            <a:schemeClr val="bg1"/>
                          </a:solidFill>
                        </a:rPr>
                        <a:t>Stag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C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 b="0">
                          <a:solidFill>
                            <a:schemeClr val="bg1"/>
                          </a:solidFill>
                        </a:rPr>
                        <a:t>Date/Statu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C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7988680"/>
                  </a:ext>
                </a:extLst>
              </a:tr>
              <a:tr h="262890">
                <a:tc>
                  <a:txBody>
                    <a:bodyPr/>
                    <a:lstStyle/>
                    <a:p>
                      <a:pPr rtl="0"/>
                      <a:r>
                        <a:rPr lang="en-US" sz="1100" b="0">
                          <a:solidFill>
                            <a:schemeClr val="tx2"/>
                          </a:solidFill>
                        </a:rPr>
                        <a:t>Plann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US" sz="1100" b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4933407"/>
                  </a:ext>
                </a:extLst>
              </a:tr>
              <a:tr h="271275">
                <a:tc>
                  <a:txBody>
                    <a:bodyPr/>
                    <a:lstStyle/>
                    <a:p>
                      <a:pPr rtl="0"/>
                      <a:r>
                        <a:rPr lang="en-US" sz="1100" b="0">
                          <a:solidFill>
                            <a:schemeClr val="tx2"/>
                          </a:solidFill>
                        </a:rPr>
                        <a:t>Pilot Dur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US" sz="1100" b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037205"/>
                  </a:ext>
                </a:extLst>
              </a:tr>
              <a:tr h="262890">
                <a:tc>
                  <a:txBody>
                    <a:bodyPr/>
                    <a:lstStyle/>
                    <a:p>
                      <a:pPr rtl="0"/>
                      <a:r>
                        <a:rPr lang="en-US" sz="1100" b="0">
                          <a:solidFill>
                            <a:schemeClr val="tx2"/>
                          </a:solidFill>
                        </a:rPr>
                        <a:t>Review/Repor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US" sz="1100" b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062941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26036D1-9A8F-4A74-B8E8-D3AA9EEE44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4021645"/>
              </p:ext>
            </p:extLst>
          </p:nvPr>
        </p:nvGraphicFramePr>
        <p:xfrm>
          <a:off x="537364" y="2174545"/>
          <a:ext cx="4032086" cy="22992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7161">
                  <a:extLst>
                    <a:ext uri="{9D8B030D-6E8A-4147-A177-3AD203B41FA5}">
                      <a16:colId xmlns:a16="http://schemas.microsoft.com/office/drawing/2014/main" val="1138537445"/>
                    </a:ext>
                  </a:extLst>
                </a:gridCol>
                <a:gridCol w="1285875">
                  <a:extLst>
                    <a:ext uri="{9D8B030D-6E8A-4147-A177-3AD203B41FA5}">
                      <a16:colId xmlns:a16="http://schemas.microsoft.com/office/drawing/2014/main" val="38331958"/>
                    </a:ext>
                  </a:extLst>
                </a:gridCol>
                <a:gridCol w="1369050">
                  <a:extLst>
                    <a:ext uri="{9D8B030D-6E8A-4147-A177-3AD203B41FA5}">
                      <a16:colId xmlns:a16="http://schemas.microsoft.com/office/drawing/2014/main" val="1964323645"/>
                    </a:ext>
                  </a:extLst>
                </a:gridCol>
              </a:tblGrid>
              <a:tr h="434340">
                <a:tc>
                  <a:txBody>
                    <a:bodyPr/>
                    <a:lstStyle/>
                    <a:p>
                      <a:pPr algn="ctr" rtl="0"/>
                      <a:r>
                        <a:rPr lang="en-US" sz="1100" b="0">
                          <a:solidFill>
                            <a:schemeClr val="bg1"/>
                          </a:solidFill>
                        </a:rPr>
                        <a:t>Key Stakeholders</a:t>
                      </a:r>
                    </a:p>
                  </a:txBody>
                  <a:tcPr>
                    <a:solidFill>
                      <a:srgbClr val="8DB9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 b="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mpany</a:t>
                      </a:r>
                    </a:p>
                  </a:txBody>
                  <a:tcPr>
                    <a:solidFill>
                      <a:srgbClr val="8DB9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 b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>
                    <a:solidFill>
                      <a:srgbClr val="8D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4933407"/>
                  </a:ext>
                </a:extLst>
              </a:tr>
              <a:tr h="342056">
                <a:tc>
                  <a:txBody>
                    <a:bodyPr/>
                    <a:lstStyle/>
                    <a:p>
                      <a:pPr rtl="0"/>
                      <a:r>
                        <a:rPr lang="en-US" sz="800" b="0">
                          <a:solidFill>
                            <a:schemeClr val="tx2"/>
                          </a:solidFill>
                        </a:rPr>
                        <a:t>GS1 Lea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endParaRPr lang="en-US" sz="800" b="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endParaRPr lang="en-US" sz="800" b="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0808069"/>
                  </a:ext>
                </a:extLst>
              </a:tr>
              <a:tr h="342056">
                <a:tc>
                  <a:txBody>
                    <a:bodyPr/>
                    <a:lstStyle/>
                    <a:p>
                      <a:pPr rtl="0"/>
                      <a:r>
                        <a:rPr lang="en-US" sz="800" b="0">
                          <a:solidFill>
                            <a:schemeClr val="tx2"/>
                          </a:solidFill>
                        </a:rPr>
                        <a:t>Retailer Lea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endParaRPr lang="en-US" sz="800" b="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endParaRPr lang="en-US" sz="800" b="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8664317"/>
                  </a:ext>
                </a:extLst>
              </a:tr>
              <a:tr h="393599">
                <a:tc>
                  <a:txBody>
                    <a:bodyPr/>
                    <a:lstStyle/>
                    <a:p>
                      <a:pPr rtl="0"/>
                      <a:r>
                        <a:rPr lang="en-US" sz="800" b="0">
                          <a:solidFill>
                            <a:schemeClr val="tx2"/>
                          </a:solidFill>
                        </a:rPr>
                        <a:t>Brand/ Manufacturer/ Supplier Lea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endParaRPr lang="en-US" sz="800" b="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endParaRPr lang="en-US" sz="800" b="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07037205"/>
                  </a:ext>
                </a:extLst>
              </a:tr>
              <a:tr h="393599">
                <a:tc>
                  <a:txBody>
                    <a:bodyPr/>
                    <a:lstStyle/>
                    <a:p>
                      <a:pPr rtl="0"/>
                      <a:r>
                        <a:rPr lang="en-US" sz="800" b="0">
                          <a:solidFill>
                            <a:schemeClr val="tx2"/>
                          </a:solidFill>
                        </a:rPr>
                        <a:t>Solution Provider Lea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US" sz="800" b="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endParaRPr lang="en-US" sz="800" b="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8062941"/>
                  </a:ext>
                </a:extLst>
              </a:tr>
              <a:tr h="393599">
                <a:tc>
                  <a:txBody>
                    <a:bodyPr/>
                    <a:lstStyle/>
                    <a:p>
                      <a:pPr rtl="0"/>
                      <a:r>
                        <a:rPr lang="en-US" sz="800" b="0">
                          <a:solidFill>
                            <a:schemeClr val="tx2"/>
                          </a:solidFill>
                        </a:rPr>
                        <a:t>Other Participa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endParaRPr lang="en-US" sz="800" b="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endParaRPr lang="en-US" sz="800" b="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43239725"/>
                  </a:ext>
                </a:extLst>
              </a:tr>
            </a:tbl>
          </a:graphicData>
        </a:graphic>
      </p:graphicFrame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01A4EB28-BF21-46F4-9EEC-979E9EBEC3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0939717"/>
              </p:ext>
            </p:extLst>
          </p:nvPr>
        </p:nvGraphicFramePr>
        <p:xfrm>
          <a:off x="3578016" y="72437"/>
          <a:ext cx="5565984" cy="2532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7778">
                  <a:extLst>
                    <a:ext uri="{9D8B030D-6E8A-4147-A177-3AD203B41FA5}">
                      <a16:colId xmlns:a16="http://schemas.microsoft.com/office/drawing/2014/main" val="1834960979"/>
                    </a:ext>
                  </a:extLst>
                </a:gridCol>
                <a:gridCol w="680920">
                  <a:extLst>
                    <a:ext uri="{9D8B030D-6E8A-4147-A177-3AD203B41FA5}">
                      <a16:colId xmlns:a16="http://schemas.microsoft.com/office/drawing/2014/main" val="642983702"/>
                    </a:ext>
                  </a:extLst>
                </a:gridCol>
                <a:gridCol w="226973">
                  <a:extLst>
                    <a:ext uri="{9D8B030D-6E8A-4147-A177-3AD203B41FA5}">
                      <a16:colId xmlns:a16="http://schemas.microsoft.com/office/drawing/2014/main" val="2587554691"/>
                    </a:ext>
                  </a:extLst>
                </a:gridCol>
                <a:gridCol w="1520194">
                  <a:extLst>
                    <a:ext uri="{9D8B030D-6E8A-4147-A177-3AD203B41FA5}">
                      <a16:colId xmlns:a16="http://schemas.microsoft.com/office/drawing/2014/main" val="2903337793"/>
                    </a:ext>
                  </a:extLst>
                </a:gridCol>
                <a:gridCol w="232252">
                  <a:extLst>
                    <a:ext uri="{9D8B030D-6E8A-4147-A177-3AD203B41FA5}">
                      <a16:colId xmlns:a16="http://schemas.microsoft.com/office/drawing/2014/main" val="583319961"/>
                    </a:ext>
                  </a:extLst>
                </a:gridCol>
                <a:gridCol w="1736610">
                  <a:extLst>
                    <a:ext uri="{9D8B030D-6E8A-4147-A177-3AD203B41FA5}">
                      <a16:colId xmlns:a16="http://schemas.microsoft.com/office/drawing/2014/main" val="3928784725"/>
                    </a:ext>
                  </a:extLst>
                </a:gridCol>
                <a:gridCol w="226974">
                  <a:extLst>
                    <a:ext uri="{9D8B030D-6E8A-4147-A177-3AD203B41FA5}">
                      <a16:colId xmlns:a16="http://schemas.microsoft.com/office/drawing/2014/main" val="1359407202"/>
                    </a:ext>
                  </a:extLst>
                </a:gridCol>
                <a:gridCol w="674283">
                  <a:extLst>
                    <a:ext uri="{9D8B030D-6E8A-4147-A177-3AD203B41FA5}">
                      <a16:colId xmlns:a16="http://schemas.microsoft.com/office/drawing/2014/main" val="3191624733"/>
                    </a:ext>
                  </a:extLst>
                </a:gridCol>
              </a:tblGrid>
              <a:tr h="253263">
                <a:tc>
                  <a:txBody>
                    <a:bodyPr/>
                    <a:lstStyle/>
                    <a:p>
                      <a:pPr rtl="0"/>
                      <a:endParaRPr lang="en-US" sz="10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6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On Schedul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6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Minor risk/~10% behind schedul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ignificant risk/&gt;10% behind schedul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05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</a:txBody>
                  <a:tcPr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05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6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mple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813"/>
                  </a:ext>
                </a:extLst>
              </a:tr>
            </a:tbl>
          </a:graphicData>
        </a:graphic>
      </p:graphicFrame>
      <p:graphicFrame>
        <p:nvGraphicFramePr>
          <p:cNvPr id="14" name="Table 9">
            <a:extLst>
              <a:ext uri="{FF2B5EF4-FFF2-40B4-BE49-F238E27FC236}">
                <a16:creationId xmlns:a16="http://schemas.microsoft.com/office/drawing/2014/main" id="{2CD3A804-8E64-436F-8122-132A5EBEBD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1067380"/>
              </p:ext>
            </p:extLst>
          </p:nvPr>
        </p:nvGraphicFramePr>
        <p:xfrm>
          <a:off x="3610136" y="912115"/>
          <a:ext cx="3217333" cy="549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444">
                  <a:extLst>
                    <a:ext uri="{9D8B030D-6E8A-4147-A177-3AD203B41FA5}">
                      <a16:colId xmlns:a16="http://schemas.microsoft.com/office/drawing/2014/main" val="1138537445"/>
                    </a:ext>
                  </a:extLst>
                </a:gridCol>
                <a:gridCol w="1072445">
                  <a:extLst>
                    <a:ext uri="{9D8B030D-6E8A-4147-A177-3AD203B41FA5}">
                      <a16:colId xmlns:a16="http://schemas.microsoft.com/office/drawing/2014/main" val="1446918717"/>
                    </a:ext>
                  </a:extLst>
                </a:gridCol>
                <a:gridCol w="1072444">
                  <a:extLst>
                    <a:ext uri="{9D8B030D-6E8A-4147-A177-3AD203B41FA5}">
                      <a16:colId xmlns:a16="http://schemas.microsoft.com/office/drawing/2014/main" val="229258891"/>
                    </a:ext>
                  </a:extLst>
                </a:gridCol>
              </a:tblGrid>
              <a:tr h="262890">
                <a:tc gridSpan="3">
                  <a:txBody>
                    <a:bodyPr/>
                    <a:lstStyle/>
                    <a:p>
                      <a:pPr algn="ctr" rtl="0"/>
                      <a:r>
                        <a:rPr lang="en-US" sz="1100" b="0">
                          <a:solidFill>
                            <a:schemeClr val="bg1"/>
                          </a:solidFill>
                        </a:rPr>
                        <a:t>Pilot Scal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C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7988680"/>
                  </a:ext>
                </a:extLst>
              </a:tr>
              <a:tr h="286494">
                <a:tc>
                  <a:txBody>
                    <a:bodyPr/>
                    <a:lstStyle/>
                    <a:p>
                      <a:pPr marL="0" algn="ctr" defTabSz="457155" rtl="0" eaLnBrk="1" latinLnBrk="0" hangingPunct="1"/>
                      <a:r>
                        <a:rPr lang="en-US" sz="1000" b="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est Lab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55" rtl="0" eaLnBrk="1" latinLnBrk="0" hangingPunct="1"/>
                      <a:r>
                        <a:rPr lang="en-US" sz="1000" b="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 Sto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ulti-loc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5980336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017A0B89-C29D-4ABC-89C7-6510AAEBA611}"/>
              </a:ext>
            </a:extLst>
          </p:cNvPr>
          <p:cNvGraphicFramePr>
            <a:graphicFrameLocks noGrp="1"/>
          </p:cNvGraphicFramePr>
          <p:nvPr/>
        </p:nvGraphicFramePr>
        <p:xfrm>
          <a:off x="4711864" y="2174544"/>
          <a:ext cx="4032086" cy="1058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086">
                  <a:extLst>
                    <a:ext uri="{9D8B030D-6E8A-4147-A177-3AD203B41FA5}">
                      <a16:colId xmlns:a16="http://schemas.microsoft.com/office/drawing/2014/main" val="1138537445"/>
                    </a:ext>
                  </a:extLst>
                </a:gridCol>
              </a:tblGrid>
              <a:tr h="262890">
                <a:tc>
                  <a:txBody>
                    <a:bodyPr/>
                    <a:lstStyle/>
                    <a:p>
                      <a:pPr algn="ctr" rtl="0"/>
                      <a:r>
                        <a:rPr lang="en-US" sz="1100" b="0">
                          <a:solidFill>
                            <a:schemeClr val="bg1"/>
                          </a:solidFill>
                        </a:rPr>
                        <a:t>Key Learnings</a:t>
                      </a:r>
                    </a:p>
                  </a:txBody>
                  <a:tcPr>
                    <a:solidFill>
                      <a:srgbClr val="8D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4933407"/>
                  </a:ext>
                </a:extLst>
              </a:tr>
              <a:tr h="795200">
                <a:tc>
                  <a:txBody>
                    <a:bodyPr/>
                    <a:lstStyle/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en-US" sz="8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en-US" sz="8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en-US" sz="8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en-US" sz="8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8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0808069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1EB71BC2-24A6-A7F3-DBBF-781D4C61EE58}"/>
              </a:ext>
            </a:extLst>
          </p:cNvPr>
          <p:cNvGraphicFramePr>
            <a:graphicFrameLocks noGrp="1"/>
          </p:cNvGraphicFramePr>
          <p:nvPr/>
        </p:nvGraphicFramePr>
        <p:xfrm>
          <a:off x="4711863" y="3362493"/>
          <a:ext cx="4032087" cy="11068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4029">
                  <a:extLst>
                    <a:ext uri="{9D8B030D-6E8A-4147-A177-3AD203B41FA5}">
                      <a16:colId xmlns:a16="http://schemas.microsoft.com/office/drawing/2014/main" val="1138537445"/>
                    </a:ext>
                  </a:extLst>
                </a:gridCol>
                <a:gridCol w="1344029">
                  <a:extLst>
                    <a:ext uri="{9D8B030D-6E8A-4147-A177-3AD203B41FA5}">
                      <a16:colId xmlns:a16="http://schemas.microsoft.com/office/drawing/2014/main" val="3443202975"/>
                    </a:ext>
                  </a:extLst>
                </a:gridCol>
                <a:gridCol w="1344029">
                  <a:extLst>
                    <a:ext uri="{9D8B030D-6E8A-4147-A177-3AD203B41FA5}">
                      <a16:colId xmlns:a16="http://schemas.microsoft.com/office/drawing/2014/main" val="683628109"/>
                    </a:ext>
                  </a:extLst>
                </a:gridCol>
              </a:tblGrid>
              <a:tr h="262890"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</a:rPr>
                        <a:t>KPIs</a:t>
                      </a:r>
                    </a:p>
                  </a:txBody>
                  <a:tcPr>
                    <a:solidFill>
                      <a:srgbClr val="8DB9C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</a:rPr>
                        <a:t>Baseline</a:t>
                      </a:r>
                    </a:p>
                  </a:txBody>
                  <a:tcPr>
                    <a:solidFill>
                      <a:srgbClr val="8DB9C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</a:rPr>
                        <a:t>New </a:t>
                      </a:r>
                    </a:p>
                  </a:txBody>
                  <a:tcPr>
                    <a:solidFill>
                      <a:srgbClr val="8D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4933407"/>
                  </a:ext>
                </a:extLst>
              </a:tr>
              <a:tr h="281333"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endParaRPr lang="en-US" sz="8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8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8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0808069"/>
                  </a:ext>
                </a:extLst>
              </a:tr>
              <a:tr h="281333"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endParaRPr lang="en-US" sz="8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8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8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5283344"/>
                  </a:ext>
                </a:extLst>
              </a:tr>
              <a:tr h="281333"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endParaRPr lang="en-US" sz="8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8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8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845400"/>
                  </a:ext>
                </a:extLst>
              </a:tr>
            </a:tbl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AFC4989C-38EF-40D7-B1F1-93F179EB9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tx2"/>
                </a:solidFill>
              </a:rPr>
              <a:t>Report &amp; Learn</a:t>
            </a:r>
            <a:br>
              <a:rPr lang="en-US"/>
            </a:br>
            <a:r>
              <a:rPr lang="en-US" sz="1350" b="1">
                <a:solidFill>
                  <a:srgbClr val="22BCB9"/>
                </a:solidFill>
              </a:rPr>
              <a:t>2D Pilot tracker</a:t>
            </a:r>
          </a:p>
        </p:txBody>
      </p:sp>
      <p:graphicFrame>
        <p:nvGraphicFramePr>
          <p:cNvPr id="17" name="Table 9">
            <a:extLst>
              <a:ext uri="{FF2B5EF4-FFF2-40B4-BE49-F238E27FC236}">
                <a16:creationId xmlns:a16="http://schemas.microsoft.com/office/drawing/2014/main" id="{5EB8E5A0-EB69-43AE-A6B2-C189B5B5BD87}"/>
              </a:ext>
            </a:extLst>
          </p:cNvPr>
          <p:cNvGraphicFramePr>
            <a:graphicFrameLocks noGrp="1"/>
          </p:cNvGraphicFramePr>
          <p:nvPr/>
        </p:nvGraphicFramePr>
        <p:xfrm>
          <a:off x="6958062" y="903338"/>
          <a:ext cx="1785887" cy="549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5887">
                  <a:extLst>
                    <a:ext uri="{9D8B030D-6E8A-4147-A177-3AD203B41FA5}">
                      <a16:colId xmlns:a16="http://schemas.microsoft.com/office/drawing/2014/main" val="1138537445"/>
                    </a:ext>
                  </a:extLst>
                </a:gridCol>
              </a:tblGrid>
              <a:tr h="262890">
                <a:tc>
                  <a:txBody>
                    <a:bodyPr/>
                    <a:lstStyle/>
                    <a:p>
                      <a:pPr algn="ctr" rtl="0"/>
                      <a:r>
                        <a:rPr lang="en-US" sz="1100" b="0">
                          <a:solidFill>
                            <a:schemeClr val="bg1"/>
                          </a:solidFill>
                        </a:rPr>
                        <a:t>Updat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C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7988680"/>
                  </a:ext>
                </a:extLst>
              </a:tr>
              <a:tr h="286494">
                <a:tc>
                  <a:txBody>
                    <a:bodyPr/>
                    <a:lstStyle/>
                    <a:p>
                      <a:pPr marL="0" algn="ctr" defTabSz="457155" rtl="0" eaLnBrk="1" latinLnBrk="0" hangingPunct="1"/>
                      <a:endParaRPr lang="en-US" sz="1000" b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59803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4657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c7af6dba-f870-40c6-a7fb-5991d73382c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26334"/>
        </a:solidFill>
        <a:ln w="25400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Verdana"/>
            <a:ea typeface="+mn-ea"/>
            <a:cs typeface="+mn-cs"/>
          </a:defRPr>
        </a:defPPr>
      </a:lstStyle>
    </a:spDef>
    <a:lnDef>
      <a:spPr>
        <a:ln w="12700"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GS1_Template_PPT_Corporate_16-9_2018-01-08 [Read-Only]" id="{33058D58-F593-4324-AAD0-76C2BF5F0B31}" vid="{76DDE033-2EEC-4602-BE79-8EA5B5C13E61}"/>
    </a:ext>
  </a:extLst>
</a:theme>
</file>

<file path=ppt/theme/theme2.xml><?xml version="1.0" encoding="utf-8"?>
<a:theme xmlns:a="http://schemas.openxmlformats.org/drawingml/2006/main" name="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GS1_Template_PPT_Corporate_16-9_2018-01-08 [Read-Only]" id="{33058D58-F593-4324-AAD0-76C2BF5F0B31}" vid="{20D5ABD5-6EE3-4287-835B-DC408A2F1412}"/>
    </a:ext>
  </a:extLst>
</a:theme>
</file>

<file path=ppt/theme/theme3.xml><?xml version="1.0" encoding="utf-8"?>
<a:theme xmlns:a="http://schemas.openxmlformats.org/drawingml/2006/main" name="18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Presentation1" id="{4EEEA848-CE8B-4019-9859-27B804BF0E95}" vid="{718C36A3-F70D-4374-8978-CA5DEEEDBD6A}"/>
    </a:ext>
  </a:extLst>
</a:theme>
</file>

<file path=ppt/theme/theme4.xml><?xml version="1.0" encoding="utf-8"?>
<a:theme xmlns:a="http://schemas.openxmlformats.org/drawingml/2006/main" name="1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GS1_Template_PPT_Corporate_16-9_2018-01-08 [Read-Only]" id="{33058D58-F593-4324-AAD0-76C2BF5F0B31}" vid="{20D5ABD5-6EE3-4287-835B-DC408A2F141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9605c04a-8c64-47ba-9645-510c07b39b26" xsi:nil="true"/>
    <SharedWithUsers xmlns="55e7a26e-f7d7-4b80-93a0-5ea587405c86">
      <UserInfo>
        <DisplayName>Ana Paula Vendramini Maniero</DisplayName>
        <AccountId>22</AccountId>
        <AccountType/>
      </UserInfo>
      <UserInfo>
        <DisplayName>Elena Tomanovich</DisplayName>
        <AccountId>23</AccountId>
        <AccountType/>
      </UserInfo>
      <UserInfo>
        <DisplayName>Christine Carina</DisplayName>
        <AccountId>187</AccountId>
        <AccountType/>
      </UserInfo>
    </SharedWithUsers>
    <TaxCatchAll xmlns="55e7a26e-f7d7-4b80-93a0-5ea587405c86" xsi:nil="true"/>
    <lcf76f155ced4ddcb4097134ff3c332f xmlns="9605c04a-8c64-47ba-9645-510c07b39b26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F38FF595D6D341A6828CA7BDF7D2FD" ma:contentTypeVersion="14" ma:contentTypeDescription="Create a new document." ma:contentTypeScope="" ma:versionID="9a27cd1b8b58981f79223b3adf5769d7">
  <xsd:schema xmlns:xsd="http://www.w3.org/2001/XMLSchema" xmlns:xs="http://www.w3.org/2001/XMLSchema" xmlns:p="http://schemas.microsoft.com/office/2006/metadata/properties" xmlns:ns2="9605c04a-8c64-47ba-9645-510c07b39b26" xmlns:ns3="55e7a26e-f7d7-4b80-93a0-5ea587405c86" targetNamespace="http://schemas.microsoft.com/office/2006/metadata/properties" ma:root="true" ma:fieldsID="280495edded20520380a4b8f5a606f8c" ns2:_="" ns3:_="">
    <xsd:import namespace="9605c04a-8c64-47ba-9645-510c07b39b26"/>
    <xsd:import namespace="55e7a26e-f7d7-4b80-93a0-5ea587405c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Tag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05c04a-8c64-47ba-9645-510c07b39b2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3892e53a-9b3c-4010-9cd1-82aa4eeb88e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7a26e-f7d7-4b80-93a0-5ea587405c8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4fc5e381-749c-426b-9743-b5ed2f5ef63b}" ma:internalName="TaxCatchAll" ma:showField="CatchAllData" ma:web="55e7a26e-f7d7-4b80-93a0-5ea587405c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AE05676-60C0-472D-B05F-CEF7E226E1C4}">
  <ds:schemaRefs>
    <ds:schemaRef ds:uri="55e7a26e-f7d7-4b80-93a0-5ea587405c86"/>
    <ds:schemaRef ds:uri="9605c04a-8c64-47ba-9645-510c07b39b2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DF74C12-0DC9-4ECC-A14A-EA747462A452}"/>
</file>

<file path=customXml/itemProps3.xml><?xml version="1.0" encoding="utf-8"?>
<ds:datastoreItem xmlns:ds="http://schemas.openxmlformats.org/officeDocument/2006/customXml" ds:itemID="{86D58D8A-5597-4DA9-9ACA-F191C12CC5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3</Words>
  <Application>Microsoft Office PowerPoint</Application>
  <PresentationFormat>On-screen Show (16:9)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Lucida Grande</vt:lpstr>
      <vt:lpstr>Segoe UI Light</vt:lpstr>
      <vt:lpstr>Verdana</vt:lpstr>
      <vt:lpstr>Title</vt:lpstr>
      <vt:lpstr>Content</vt:lpstr>
      <vt:lpstr>18_Content</vt:lpstr>
      <vt:lpstr>1_Content</vt:lpstr>
      <vt:lpstr>think-cell Slide</vt:lpstr>
      <vt:lpstr>Report &amp; Learn 2D Pilot track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ri Schrop</dc:creator>
  <cp:lastModifiedBy>Kevin Stark</cp:lastModifiedBy>
  <cp:revision>2</cp:revision>
  <cp:lastPrinted>2022-06-23T15:11:11Z</cp:lastPrinted>
  <dcterms:created xsi:type="dcterms:W3CDTF">2022-02-28T20:15:27Z</dcterms:created>
  <dcterms:modified xsi:type="dcterms:W3CDTF">2022-12-09T18:4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F38FF595D6D341A6828CA7BDF7D2FD</vt:lpwstr>
  </property>
  <property fmtid="{D5CDD505-2E9C-101B-9397-08002B2CF9AE}" pid="3" name="Order">
    <vt:r8>118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</Properties>
</file>